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19" r:id="rId5"/>
  </p:sldMasterIdLst>
  <p:notesMasterIdLst>
    <p:notesMasterId r:id="rId13"/>
  </p:notesMasterIdLst>
  <p:handoutMasterIdLst>
    <p:handoutMasterId r:id="rId14"/>
  </p:handoutMasterIdLst>
  <p:sldIdLst>
    <p:sldId id="2147474254" r:id="rId6"/>
    <p:sldId id="2147474387" r:id="rId7"/>
    <p:sldId id="2147474509" r:id="rId8"/>
    <p:sldId id="2147474373" r:id="rId9"/>
    <p:sldId id="2147474506" r:id="rId10"/>
    <p:sldId id="2147474374" r:id="rId11"/>
    <p:sldId id="2147474377" r:id="rId12"/>
  </p:sldIdLst>
  <p:sldSz cx="12192000" cy="6858000"/>
  <p:notesSz cx="6797675" cy="9928225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Degular Semibold" panose="020B0704050503060204" pitchFamily="34" charset="0"/>
      <p:regular r:id="rId19"/>
      <p:bold r:id="rId20"/>
      <p:italic r:id="rId21"/>
      <p:boldItalic r:id="rId22"/>
    </p:embeddedFont>
    <p:embeddedFont>
      <p:font typeface="Inter" panose="02000503000000020004" pitchFamily="50" charset="0"/>
      <p:regular r:id="rId23"/>
      <p:bold r:id="rId24"/>
      <p:italic r:id="rId25"/>
      <p:boldItalic r:id="rId26"/>
    </p:embeddedFont>
  </p:embeddedFont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6A3722E-AA21-2E7B-CD6A-1F98B891297C}" name="Vegard Hellekleiv" initials="VH" userId="S::vegard.hellekleiv@hoeghlng.com::906d47c5-bcb7-430f-a043-d7965ca55068" providerId="AD"/>
  <p188:author id="{910B2337-AEC5-C76B-1051-47D5A6DC0919}" name="Camilla Nyhus-Møller" initials="CNM" userId="S::camilla.nyhus-moller@hoeghlng.com::d937178e-2aab-4b55-a3f3-839daaacbaf5" providerId="AD"/>
  <p188:author id="{65DB575D-505B-64B0-3B62-1CA4DD83E898}" name="Marius Heggen" initials="MH" userId="S::marius.heggen@hoeghlng.com::cf4fd6d8-fca7-4a18-b60e-ea39163aa25d" providerId="AD"/>
  <p188:author id="{60CC4972-055F-E995-2DB2-0EA2C1C9B1DB}" name="Magnus Koren" initials="MK" userId="S::m.koren@hoeghlng.com::4c27024d-efe3-461c-afed-9a6987cb6b99" providerId="AD"/>
  <p188:author id="{C9942ABC-973C-A7F2-6C44-20243085FA35}" name="Magnus Koren" initials="MK" userId="S::magnus.koren@hoeghlng.com::4c27024d-efe3-461c-afed-9a6987cb6b99" providerId="AD"/>
  <p188:author id="{D0ACB1D6-76D2-E8CD-1E5D-D081F85157F6}" name="Håvard Furu" initials="HF" userId="S::havard.furu@hoeghlng.com::b7e03b3b-9f8b-429d-a3d7-e10e7a71320f" providerId="AD"/>
  <p188:author id="{98293AE2-BFC2-85F0-9298-C82F009A31D6}" name="Thomas Thorkildsen" initials="TT" userId="S::thomasthorkildsen@hoeghlng.com::f09f129a-75f0-480d-93cc-6058976c78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E7FB"/>
    <a:srgbClr val="FFFF99"/>
    <a:srgbClr val="2C5D80"/>
    <a:srgbClr val="FFC000"/>
    <a:srgbClr val="FF5000"/>
    <a:srgbClr val="FFFFA3"/>
    <a:srgbClr val="FF7D7D"/>
    <a:srgbClr val="EBEFF2"/>
    <a:srgbClr val="BFB6AD"/>
    <a:srgbClr val="004D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notesView">
  <p:normalViewPr horzBarState="maximized">
    <p:restoredLeft sz="15620"/>
    <p:restoredTop sz="96173" autoAdjust="0"/>
  </p:normalViewPr>
  <p:slideViewPr>
    <p:cSldViewPr snapToGrid="0">
      <p:cViewPr varScale="1">
        <p:scale>
          <a:sx n="159" d="100"/>
          <a:sy n="159" d="100"/>
        </p:scale>
        <p:origin x="25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7848"/>
    </p:cViewPr>
  </p:sorterViewPr>
  <p:notesViewPr>
    <p:cSldViewPr snapToGrid="0">
      <p:cViewPr>
        <p:scale>
          <a:sx n="1" d="2"/>
          <a:sy n="1" d="2"/>
        </p:scale>
        <p:origin x="6480" y="201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0.fntdata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font" Target="fonts/font5.fntdata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homas Thorkildsen" userId="f09f129a-75f0-480d-93cc-6058976c7893" providerId="ADAL" clId="{7F8827FB-D72A-4D8D-B7C7-3F98B2CADC36}"/>
    <pc:docChg chg="custSel modSld">
      <pc:chgData name="Thomas Thorkildsen" userId="f09f129a-75f0-480d-93cc-6058976c7893" providerId="ADAL" clId="{7F8827FB-D72A-4D8D-B7C7-3F98B2CADC36}" dt="2023-06-07T15:24:21.704" v="3" actId="478"/>
      <pc:docMkLst>
        <pc:docMk/>
      </pc:docMkLst>
      <pc:sldChg chg="modNotes">
        <pc:chgData name="Thomas Thorkildsen" userId="f09f129a-75f0-480d-93cc-6058976c7893" providerId="ADAL" clId="{7F8827FB-D72A-4D8D-B7C7-3F98B2CADC36}" dt="2023-06-07T15:24:14.762" v="2" actId="478"/>
        <pc:sldMkLst>
          <pc:docMk/>
          <pc:sldMk cId="3493331220" sldId="2147474373"/>
        </pc:sldMkLst>
      </pc:sldChg>
      <pc:sldChg chg="modNotes">
        <pc:chgData name="Thomas Thorkildsen" userId="f09f129a-75f0-480d-93cc-6058976c7893" providerId="ADAL" clId="{7F8827FB-D72A-4D8D-B7C7-3F98B2CADC36}" dt="2023-06-07T15:24:21.704" v="3" actId="478"/>
        <pc:sldMkLst>
          <pc:docMk/>
          <pc:sldMk cId="4043093356" sldId="2147474374"/>
        </pc:sldMkLst>
      </pc:sldChg>
      <pc:sldChg chg="modNotes">
        <pc:chgData name="Thomas Thorkildsen" userId="f09f129a-75f0-480d-93cc-6058976c7893" providerId="ADAL" clId="{7F8827FB-D72A-4D8D-B7C7-3F98B2CADC36}" dt="2023-06-07T15:23:55.330" v="0" actId="478"/>
        <pc:sldMkLst>
          <pc:docMk/>
          <pc:sldMk cId="279368836" sldId="2147474377"/>
        </pc:sldMkLst>
      </pc:sldChg>
      <pc:sldChg chg="modNotes">
        <pc:chgData name="Thomas Thorkildsen" userId="f09f129a-75f0-480d-93cc-6058976c7893" providerId="ADAL" clId="{7F8827FB-D72A-4D8D-B7C7-3F98B2CADC36}" dt="2023-06-07T15:24:08.411" v="1" actId="478"/>
        <pc:sldMkLst>
          <pc:docMk/>
          <pc:sldMk cId="1400586153" sldId="214747438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hoeghlng-my.sharepoint.com/personal/m_koren_hoeghlng_com/Documents/Documents/Market%20xls%20files/2023-05-16%20-%20European%20regas%20capacity%20utilitsation%202019-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German</a:t>
            </a:r>
            <a:r>
              <a:rPr lang="en-US" baseline="0" dirty="0"/>
              <a:t> imports of Russian natural ga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53</c:v>
                </c:pt>
                <c:pt idx="1">
                  <c:v>42</c:v>
                </c:pt>
                <c:pt idx="2">
                  <c:v>51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6D-400A-AEA3-01E7D251A5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76371496"/>
        <c:axId val="976371824"/>
      </c:barChart>
      <c:catAx>
        <c:axId val="976371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6371824"/>
        <c:crosses val="autoZero"/>
        <c:auto val="1"/>
        <c:lblAlgn val="ctr"/>
        <c:lblOffset val="100"/>
        <c:noMultiLvlLbl val="0"/>
      </c:catAx>
      <c:valAx>
        <c:axId val="976371824"/>
        <c:scaling>
          <c:orientation val="minMax"/>
          <c:max val="6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9763714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GB" err="1"/>
              <a:t>Regas</a:t>
            </a:r>
            <a:r>
              <a:rPr lang="en-GB"/>
              <a:t> nameplate capacity utilisation in EU27+UK, 30 days moving averag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>
        <c:manualLayout>
          <c:layoutTarget val="inner"/>
          <c:xMode val="edge"/>
          <c:yMode val="edge"/>
          <c:x val="7.4257644645898388E-2"/>
          <c:y val="9.4277997386366857E-2"/>
          <c:w val="0.87645047801266263"/>
          <c:h val="0.72221449729697829"/>
        </c:manualLayout>
      </c:layout>
      <c:lineChart>
        <c:grouping val="standar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4:$A$368</c:f>
              <c:strCache>
                <c:ptCount val="335"/>
                <c:pt idx="0">
                  <c:v>Jan</c:v>
                </c:pt>
                <c:pt idx="31">
                  <c:v>Feb</c:v>
                </c:pt>
                <c:pt idx="59">
                  <c:v>Mar</c:v>
                </c:pt>
                <c:pt idx="90">
                  <c:v>Apr</c:v>
                </c:pt>
                <c:pt idx="120">
                  <c:v>May</c:v>
                </c:pt>
                <c:pt idx="151">
                  <c:v>Jun</c:v>
                </c:pt>
                <c:pt idx="181">
                  <c:v>Jul</c:v>
                </c:pt>
                <c:pt idx="212">
                  <c:v>Aug</c:v>
                </c:pt>
                <c:pt idx="243">
                  <c:v>Sept</c:v>
                </c:pt>
                <c:pt idx="273">
                  <c:v>Oct</c:v>
                </c:pt>
                <c:pt idx="304">
                  <c:v>Nov</c:v>
                </c:pt>
                <c:pt idx="334">
                  <c:v>Dec</c:v>
                </c:pt>
              </c:strCache>
            </c:strRef>
          </c:cat>
          <c:val>
            <c:numRef>
              <c:f>Sheet1!$B$4:$B$368</c:f>
              <c:numCache>
                <c:formatCode>0\ %;\-0\ %;0\ %</c:formatCode>
                <c:ptCount val="365"/>
                <c:pt idx="0">
                  <c:v>0.43461288659672198</c:v>
                </c:pt>
                <c:pt idx="1">
                  <c:v>0.43838285538039301</c:v>
                </c:pt>
                <c:pt idx="2">
                  <c:v>0.42956623114796699</c:v>
                </c:pt>
                <c:pt idx="3">
                  <c:v>0.41762118470284099</c:v>
                </c:pt>
                <c:pt idx="4">
                  <c:v>0.41548765982574398</c:v>
                </c:pt>
                <c:pt idx="5">
                  <c:v>0.409258392902002</c:v>
                </c:pt>
                <c:pt idx="6">
                  <c:v>0.41431517748612501</c:v>
                </c:pt>
                <c:pt idx="7">
                  <c:v>0.40710829860300701</c:v>
                </c:pt>
                <c:pt idx="8">
                  <c:v>0.40500235978511501</c:v>
                </c:pt>
                <c:pt idx="9">
                  <c:v>0.38906872354858102</c:v>
                </c:pt>
                <c:pt idx="10">
                  <c:v>0.40852542576853701</c:v>
                </c:pt>
                <c:pt idx="11">
                  <c:v>0.40169917007990902</c:v>
                </c:pt>
                <c:pt idx="12">
                  <c:v>0.42350509066282999</c:v>
                </c:pt>
                <c:pt idx="13">
                  <c:v>0.41418723352449999</c:v>
                </c:pt>
                <c:pt idx="14">
                  <c:v>0.39596858115594202</c:v>
                </c:pt>
                <c:pt idx="15">
                  <c:v>0.42440244063478799</c:v>
                </c:pt>
                <c:pt idx="16">
                  <c:v>0.40988129636514598</c:v>
                </c:pt>
                <c:pt idx="17">
                  <c:v>0.41526793430696501</c:v>
                </c:pt>
                <c:pt idx="18">
                  <c:v>0.43531305791885599</c:v>
                </c:pt>
                <c:pt idx="19">
                  <c:v>0.43586986515485499</c:v>
                </c:pt>
                <c:pt idx="20">
                  <c:v>0.43186302575639801</c:v>
                </c:pt>
                <c:pt idx="21">
                  <c:v>0.423930578342749</c:v>
                </c:pt>
                <c:pt idx="22">
                  <c:v>0.42286097620225799</c:v>
                </c:pt>
                <c:pt idx="23">
                  <c:v>0.42707610208570801</c:v>
                </c:pt>
                <c:pt idx="24">
                  <c:v>0.43534613081606</c:v>
                </c:pt>
                <c:pt idx="25">
                  <c:v>0.44079108508653297</c:v>
                </c:pt>
                <c:pt idx="26">
                  <c:v>0.44025437255232203</c:v>
                </c:pt>
                <c:pt idx="27">
                  <c:v>0.42439609530032701</c:v>
                </c:pt>
                <c:pt idx="28">
                  <c:v>0.42560285017055899</c:v>
                </c:pt>
                <c:pt idx="29">
                  <c:v>0.42576717699524902</c:v>
                </c:pt>
                <c:pt idx="30">
                  <c:v>0.41935914480154901</c:v>
                </c:pt>
                <c:pt idx="31">
                  <c:v>0.41683498070224401</c:v>
                </c:pt>
                <c:pt idx="32">
                  <c:v>0.41039617413603802</c:v>
                </c:pt>
                <c:pt idx="33">
                  <c:v>0.41902664065912298</c:v>
                </c:pt>
                <c:pt idx="34">
                  <c:v>0.40717566225056201</c:v>
                </c:pt>
                <c:pt idx="35">
                  <c:v>0.40893806585223302</c:v>
                </c:pt>
                <c:pt idx="36">
                  <c:v>0.40531166283577502</c:v>
                </c:pt>
                <c:pt idx="37">
                  <c:v>0.41134788832660502</c:v>
                </c:pt>
                <c:pt idx="38">
                  <c:v>0.42143154913724301</c:v>
                </c:pt>
                <c:pt idx="39">
                  <c:v>0.41072348883160398</c:v>
                </c:pt>
                <c:pt idx="40">
                  <c:v>0.39871259479994198</c:v>
                </c:pt>
                <c:pt idx="41">
                  <c:v>0.40320370277331102</c:v>
                </c:pt>
                <c:pt idx="42">
                  <c:v>0.40984578425423002</c:v>
                </c:pt>
                <c:pt idx="43">
                  <c:v>0.417959020409712</c:v>
                </c:pt>
                <c:pt idx="44">
                  <c:v>0.42137935834927498</c:v>
                </c:pt>
                <c:pt idx="45">
                  <c:v>0.41151989309457998</c:v>
                </c:pt>
                <c:pt idx="46">
                  <c:v>0.432234897641397</c:v>
                </c:pt>
                <c:pt idx="47">
                  <c:v>0.42409374261954003</c:v>
                </c:pt>
                <c:pt idx="48">
                  <c:v>0.41637290406816502</c:v>
                </c:pt>
                <c:pt idx="49">
                  <c:v>0.41357854875181099</c:v>
                </c:pt>
                <c:pt idx="50">
                  <c:v>0.39935102141767098</c:v>
                </c:pt>
                <c:pt idx="51">
                  <c:v>0.399823738964033</c:v>
                </c:pt>
                <c:pt idx="52">
                  <c:v>0.39793390021595998</c:v>
                </c:pt>
                <c:pt idx="53">
                  <c:v>0.40356606000400203</c:v>
                </c:pt>
                <c:pt idx="54">
                  <c:v>0.40067856326610202</c:v>
                </c:pt>
                <c:pt idx="55">
                  <c:v>0.41701877182684799</c:v>
                </c:pt>
                <c:pt idx="56">
                  <c:v>0.41701645858459901</c:v>
                </c:pt>
                <c:pt idx="57">
                  <c:v>0.40766023065560902</c:v>
                </c:pt>
                <c:pt idx="58">
                  <c:v>0.39184817373214997</c:v>
                </c:pt>
                <c:pt idx="59">
                  <c:v>0.41633097797651603</c:v>
                </c:pt>
                <c:pt idx="60">
                  <c:v>0.42455794216488202</c:v>
                </c:pt>
                <c:pt idx="61">
                  <c:v>0.41261929553297499</c:v>
                </c:pt>
                <c:pt idx="62">
                  <c:v>0.41526832888021198</c:v>
                </c:pt>
                <c:pt idx="63">
                  <c:v>0.43976920234585798</c:v>
                </c:pt>
                <c:pt idx="64">
                  <c:v>0.44963497400901298</c:v>
                </c:pt>
                <c:pt idx="65">
                  <c:v>0.452867272733393</c:v>
                </c:pt>
                <c:pt idx="66">
                  <c:v>0.459769670916444</c:v>
                </c:pt>
                <c:pt idx="67">
                  <c:v>0.465205172670556</c:v>
                </c:pt>
                <c:pt idx="68">
                  <c:v>0.45750164214628303</c:v>
                </c:pt>
                <c:pt idx="69">
                  <c:v>0.48396928686628898</c:v>
                </c:pt>
                <c:pt idx="70">
                  <c:v>0.49830140680953</c:v>
                </c:pt>
                <c:pt idx="71">
                  <c:v>0.48450622038532598</c:v>
                </c:pt>
                <c:pt idx="72">
                  <c:v>0.46106496201265501</c:v>
                </c:pt>
                <c:pt idx="73">
                  <c:v>0.46436219307230497</c:v>
                </c:pt>
                <c:pt idx="74">
                  <c:v>0.45489266245022097</c:v>
                </c:pt>
                <c:pt idx="75">
                  <c:v>0.45411638379478703</c:v>
                </c:pt>
                <c:pt idx="76">
                  <c:v>0.45131676032262602</c:v>
                </c:pt>
                <c:pt idx="77">
                  <c:v>0.467540103410789</c:v>
                </c:pt>
                <c:pt idx="78">
                  <c:v>0.45847320759354299</c:v>
                </c:pt>
                <c:pt idx="79">
                  <c:v>0.471082722937469</c:v>
                </c:pt>
                <c:pt idx="80">
                  <c:v>0.49366048153375902</c:v>
                </c:pt>
                <c:pt idx="81">
                  <c:v>0.49657406535846199</c:v>
                </c:pt>
                <c:pt idx="82">
                  <c:v>0.50755310536639797</c:v>
                </c:pt>
                <c:pt idx="83">
                  <c:v>0.51815504669673496</c:v>
                </c:pt>
                <c:pt idx="84">
                  <c:v>0.51580717375659102</c:v>
                </c:pt>
                <c:pt idx="85">
                  <c:v>0.51484921363439695</c:v>
                </c:pt>
                <c:pt idx="86">
                  <c:v>0.50514569252072905</c:v>
                </c:pt>
                <c:pt idx="87">
                  <c:v>0.51249695160213804</c:v>
                </c:pt>
                <c:pt idx="88">
                  <c:v>0.53470152950394201</c:v>
                </c:pt>
                <c:pt idx="89">
                  <c:v>0.53230587073736502</c:v>
                </c:pt>
                <c:pt idx="90">
                  <c:v>0.54260790019962002</c:v>
                </c:pt>
                <c:pt idx="91">
                  <c:v>0.54819012513917698</c:v>
                </c:pt>
                <c:pt idx="92">
                  <c:v>0.55450018353277497</c:v>
                </c:pt>
                <c:pt idx="93">
                  <c:v>0.55829409094476301</c:v>
                </c:pt>
                <c:pt idx="94">
                  <c:v>0.55685926161920696</c:v>
                </c:pt>
                <c:pt idx="95">
                  <c:v>0.56595061387396195</c:v>
                </c:pt>
                <c:pt idx="96">
                  <c:v>0.56226878780692502</c:v>
                </c:pt>
                <c:pt idx="97">
                  <c:v>0.56820280027553804</c:v>
                </c:pt>
                <c:pt idx="98">
                  <c:v>0.58625576482851205</c:v>
                </c:pt>
                <c:pt idx="99">
                  <c:v>0.56556046691642203</c:v>
                </c:pt>
                <c:pt idx="100">
                  <c:v>0.55843280361248504</c:v>
                </c:pt>
                <c:pt idx="101">
                  <c:v>0.57628311257057396</c:v>
                </c:pt>
                <c:pt idx="102">
                  <c:v>0.60032020785764095</c:v>
                </c:pt>
                <c:pt idx="103">
                  <c:v>0.58037783542285004</c:v>
                </c:pt>
                <c:pt idx="104">
                  <c:v>0.59351479252125705</c:v>
                </c:pt>
                <c:pt idx="105">
                  <c:v>0.60905119619415005</c:v>
                </c:pt>
                <c:pt idx="106">
                  <c:v>0.61077063343626004</c:v>
                </c:pt>
                <c:pt idx="107">
                  <c:v>0.59711287798989399</c:v>
                </c:pt>
                <c:pt idx="108">
                  <c:v>0.61270754592312104</c:v>
                </c:pt>
                <c:pt idx="109">
                  <c:v>0.59642438811619802</c:v>
                </c:pt>
                <c:pt idx="110">
                  <c:v>0.588880584177088</c:v>
                </c:pt>
                <c:pt idx="111">
                  <c:v>0.58882001047287102</c:v>
                </c:pt>
                <c:pt idx="112">
                  <c:v>0.59087232101151499</c:v>
                </c:pt>
                <c:pt idx="113">
                  <c:v>0.59090229665899996</c:v>
                </c:pt>
                <c:pt idx="114">
                  <c:v>0.59880147311865295</c:v>
                </c:pt>
                <c:pt idx="115">
                  <c:v>0.59265283369868005</c:v>
                </c:pt>
                <c:pt idx="116">
                  <c:v>0.61279105909107501</c:v>
                </c:pt>
                <c:pt idx="117">
                  <c:v>0.60885101831561705</c:v>
                </c:pt>
                <c:pt idx="118">
                  <c:v>0.60174777313965799</c:v>
                </c:pt>
                <c:pt idx="119">
                  <c:v>0.58854805137070998</c:v>
                </c:pt>
                <c:pt idx="120">
                  <c:v>0.58042023520624697</c:v>
                </c:pt>
                <c:pt idx="121">
                  <c:v>0.60929096141549299</c:v>
                </c:pt>
                <c:pt idx="122">
                  <c:v>0.62377908244839297</c:v>
                </c:pt>
                <c:pt idx="123">
                  <c:v>0.60137723137289401</c:v>
                </c:pt>
                <c:pt idx="124">
                  <c:v>0.60431843579002098</c:v>
                </c:pt>
                <c:pt idx="125">
                  <c:v>0.607963159125126</c:v>
                </c:pt>
                <c:pt idx="126">
                  <c:v>0.60222071816078004</c:v>
                </c:pt>
                <c:pt idx="127">
                  <c:v>0.59709803104004999</c:v>
                </c:pt>
                <c:pt idx="128">
                  <c:v>0.58709818616693499</c:v>
                </c:pt>
                <c:pt idx="129">
                  <c:v>0.62007712061864995</c:v>
                </c:pt>
                <c:pt idx="130">
                  <c:v>0.61314690729280596</c:v>
                </c:pt>
                <c:pt idx="131">
                  <c:v>0.59601107098514805</c:v>
                </c:pt>
                <c:pt idx="132">
                  <c:v>0.58605109436365199</c:v>
                </c:pt>
                <c:pt idx="133">
                  <c:v>0.58347177555826202</c:v>
                </c:pt>
                <c:pt idx="134">
                  <c:v>0.60148012859077504</c:v>
                </c:pt>
                <c:pt idx="135">
                  <c:v>0.59022595987048199</c:v>
                </c:pt>
                <c:pt idx="136">
                  <c:v>0.57775447154612203</c:v>
                </c:pt>
                <c:pt idx="137">
                  <c:v>0.58121694214689701</c:v>
                </c:pt>
                <c:pt idx="138">
                  <c:v>0.57809844473937899</c:v>
                </c:pt>
                <c:pt idx="139">
                  <c:v>0.59678551887289299</c:v>
                </c:pt>
                <c:pt idx="140">
                  <c:v>0.58992492662069995</c:v>
                </c:pt>
                <c:pt idx="141">
                  <c:v>0.59360180009427199</c:v>
                </c:pt>
                <c:pt idx="142">
                  <c:v>0.60525751069403899</c:v>
                </c:pt>
                <c:pt idx="143">
                  <c:v>0.58874222496704998</c:v>
                </c:pt>
                <c:pt idx="144">
                  <c:v>0.59992610302854499</c:v>
                </c:pt>
                <c:pt idx="145">
                  <c:v>0.58519364832712095</c:v>
                </c:pt>
                <c:pt idx="146">
                  <c:v>0.58743524831540805</c:v>
                </c:pt>
                <c:pt idx="147">
                  <c:v>0.58625039685109903</c:v>
                </c:pt>
                <c:pt idx="148">
                  <c:v>0.57584771923977895</c:v>
                </c:pt>
                <c:pt idx="149">
                  <c:v>0.56994485928776195</c:v>
                </c:pt>
                <c:pt idx="150">
                  <c:v>0.56641886265430896</c:v>
                </c:pt>
                <c:pt idx="151">
                  <c:v>0.54765331963245301</c:v>
                </c:pt>
                <c:pt idx="152">
                  <c:v>0.52643908666804695</c:v>
                </c:pt>
                <c:pt idx="153">
                  <c:v>0.52622955646383796</c:v>
                </c:pt>
                <c:pt idx="154">
                  <c:v>0.52314810656349897</c:v>
                </c:pt>
                <c:pt idx="155">
                  <c:v>0.51893430924818396</c:v>
                </c:pt>
                <c:pt idx="156">
                  <c:v>0.52310232546958102</c:v>
                </c:pt>
                <c:pt idx="157">
                  <c:v>0.52865700786360903</c:v>
                </c:pt>
                <c:pt idx="158">
                  <c:v>0.52314830610418495</c:v>
                </c:pt>
                <c:pt idx="159">
                  <c:v>0.49433183144540499</c:v>
                </c:pt>
                <c:pt idx="160">
                  <c:v>0.50361207618143999</c:v>
                </c:pt>
                <c:pt idx="161">
                  <c:v>0.51395176627261296</c:v>
                </c:pt>
                <c:pt idx="162">
                  <c:v>0.50642163393032402</c:v>
                </c:pt>
                <c:pt idx="163">
                  <c:v>0.53076648684570704</c:v>
                </c:pt>
                <c:pt idx="164">
                  <c:v>0.51675246480595705</c:v>
                </c:pt>
                <c:pt idx="165">
                  <c:v>0.51039425896227097</c:v>
                </c:pt>
                <c:pt idx="166">
                  <c:v>0.49617022085094498</c:v>
                </c:pt>
                <c:pt idx="167">
                  <c:v>0.50132349949755295</c:v>
                </c:pt>
                <c:pt idx="168">
                  <c:v>0.49930660666816701</c:v>
                </c:pt>
                <c:pt idx="169">
                  <c:v>0.486869820968655</c:v>
                </c:pt>
                <c:pt idx="170">
                  <c:v>0.49853351023706799</c:v>
                </c:pt>
                <c:pt idx="171">
                  <c:v>0.50541506475319398</c:v>
                </c:pt>
                <c:pt idx="172">
                  <c:v>0.47716415089136699</c:v>
                </c:pt>
                <c:pt idx="173">
                  <c:v>0.47895191394068098</c:v>
                </c:pt>
                <c:pt idx="174">
                  <c:v>0.45805092998147301</c:v>
                </c:pt>
                <c:pt idx="175">
                  <c:v>0.47647338483496698</c:v>
                </c:pt>
                <c:pt idx="176">
                  <c:v>0.47895143262849998</c:v>
                </c:pt>
                <c:pt idx="177">
                  <c:v>0.47993687494639697</c:v>
                </c:pt>
                <c:pt idx="178">
                  <c:v>0.50676176952816698</c:v>
                </c:pt>
                <c:pt idx="179">
                  <c:v>0.50532709673548704</c:v>
                </c:pt>
                <c:pt idx="180">
                  <c:v>0.51663712377919901</c:v>
                </c:pt>
                <c:pt idx="181">
                  <c:v>0.52587255863117699</c:v>
                </c:pt>
                <c:pt idx="182">
                  <c:v>0.52746111663404205</c:v>
                </c:pt>
                <c:pt idx="183">
                  <c:v>0.523870005800529</c:v>
                </c:pt>
                <c:pt idx="184">
                  <c:v>0.51367050709892803</c:v>
                </c:pt>
                <c:pt idx="185">
                  <c:v>0.508161619637026</c:v>
                </c:pt>
                <c:pt idx="186">
                  <c:v>0.50677693401332102</c:v>
                </c:pt>
                <c:pt idx="187">
                  <c:v>0.48899224704225502</c:v>
                </c:pt>
                <c:pt idx="188">
                  <c:v>0.51311303153625598</c:v>
                </c:pt>
                <c:pt idx="189">
                  <c:v>0.52814292316614897</c:v>
                </c:pt>
                <c:pt idx="190">
                  <c:v>0.52226258938764603</c:v>
                </c:pt>
                <c:pt idx="191">
                  <c:v>0.51895360044718397</c:v>
                </c:pt>
                <c:pt idx="192">
                  <c:v>0.52545670126305699</c:v>
                </c:pt>
                <c:pt idx="193">
                  <c:v>0.50367677063175598</c:v>
                </c:pt>
                <c:pt idx="194">
                  <c:v>0.50765171711439905</c:v>
                </c:pt>
                <c:pt idx="195">
                  <c:v>0.49952523516674002</c:v>
                </c:pt>
                <c:pt idx="196">
                  <c:v>0.529615114351355</c:v>
                </c:pt>
                <c:pt idx="197">
                  <c:v>0.51842998711128496</c:v>
                </c:pt>
                <c:pt idx="198">
                  <c:v>0.51715799503979099</c:v>
                </c:pt>
                <c:pt idx="199">
                  <c:v>0.52165460197916003</c:v>
                </c:pt>
                <c:pt idx="200">
                  <c:v>0.50585777912395702</c:v>
                </c:pt>
                <c:pt idx="201">
                  <c:v>0.51134467691560404</c:v>
                </c:pt>
                <c:pt idx="202">
                  <c:v>0.52445738692752797</c:v>
                </c:pt>
                <c:pt idx="203">
                  <c:v>0.53069665831443302</c:v>
                </c:pt>
                <c:pt idx="204">
                  <c:v>0.53628945504426295</c:v>
                </c:pt>
                <c:pt idx="205">
                  <c:v>0.53266778061924303</c:v>
                </c:pt>
                <c:pt idx="206">
                  <c:v>0.54060081822530504</c:v>
                </c:pt>
                <c:pt idx="207">
                  <c:v>0.53731169278624602</c:v>
                </c:pt>
                <c:pt idx="208">
                  <c:v>0.50827138603163102</c:v>
                </c:pt>
                <c:pt idx="209">
                  <c:v>0.51707775232835496</c:v>
                </c:pt>
                <c:pt idx="210">
                  <c:v>0.49939233121933901</c:v>
                </c:pt>
                <c:pt idx="211">
                  <c:v>0.49137696022416</c:v>
                </c:pt>
                <c:pt idx="212">
                  <c:v>0.490458214741542</c:v>
                </c:pt>
                <c:pt idx="213">
                  <c:v>0.48865854840509199</c:v>
                </c:pt>
                <c:pt idx="214">
                  <c:v>0.485119988410809</c:v>
                </c:pt>
                <c:pt idx="215">
                  <c:v>0.49401189114550098</c:v>
                </c:pt>
                <c:pt idx="216">
                  <c:v>0.49208796243158498</c:v>
                </c:pt>
                <c:pt idx="217">
                  <c:v>0.50518194902233304</c:v>
                </c:pt>
                <c:pt idx="218">
                  <c:v>0.47749874488310801</c:v>
                </c:pt>
                <c:pt idx="219">
                  <c:v>0.46082085685116803</c:v>
                </c:pt>
                <c:pt idx="220">
                  <c:v>0.45541712419193198</c:v>
                </c:pt>
                <c:pt idx="221">
                  <c:v>0.468423316115682</c:v>
                </c:pt>
                <c:pt idx="222">
                  <c:v>0.45653553900275101</c:v>
                </c:pt>
                <c:pt idx="223">
                  <c:v>0.47371424167453602</c:v>
                </c:pt>
                <c:pt idx="224">
                  <c:v>0.45526434601324001</c:v>
                </c:pt>
                <c:pt idx="225">
                  <c:v>0.46070552409989801</c:v>
                </c:pt>
                <c:pt idx="226">
                  <c:v>0.43729227732390802</c:v>
                </c:pt>
                <c:pt idx="227">
                  <c:v>0.45143976313044198</c:v>
                </c:pt>
                <c:pt idx="228">
                  <c:v>0.46331430982835597</c:v>
                </c:pt>
                <c:pt idx="229">
                  <c:v>0.456264072103788</c:v>
                </c:pt>
                <c:pt idx="230">
                  <c:v>0.46657263576841002</c:v>
                </c:pt>
                <c:pt idx="231">
                  <c:v>0.45092970924070402</c:v>
                </c:pt>
                <c:pt idx="232">
                  <c:v>0.44820858287752902</c:v>
                </c:pt>
                <c:pt idx="233">
                  <c:v>0.44546764147432</c:v>
                </c:pt>
                <c:pt idx="234">
                  <c:v>0.44527102981086603</c:v>
                </c:pt>
                <c:pt idx="235">
                  <c:v>0.448383337048816</c:v>
                </c:pt>
                <c:pt idx="236">
                  <c:v>0.430632610177692</c:v>
                </c:pt>
                <c:pt idx="237">
                  <c:v>0.43632660627205999</c:v>
                </c:pt>
                <c:pt idx="238">
                  <c:v>0.44548906249259501</c:v>
                </c:pt>
                <c:pt idx="239">
                  <c:v>0.44986426521404699</c:v>
                </c:pt>
                <c:pt idx="240">
                  <c:v>0.45072319026625701</c:v>
                </c:pt>
                <c:pt idx="241">
                  <c:v>0.451155402002265</c:v>
                </c:pt>
                <c:pt idx="242">
                  <c:v>0.45203282090318198</c:v>
                </c:pt>
                <c:pt idx="243">
                  <c:v>0.464505659031069</c:v>
                </c:pt>
                <c:pt idx="244">
                  <c:v>0.47135116268381999</c:v>
                </c:pt>
                <c:pt idx="245">
                  <c:v>0.46146160025687399</c:v>
                </c:pt>
                <c:pt idx="246">
                  <c:v>0.45947833643370001</c:v>
                </c:pt>
                <c:pt idx="247">
                  <c:v>0.468718973543998</c:v>
                </c:pt>
                <c:pt idx="248">
                  <c:v>0.468004858135807</c:v>
                </c:pt>
                <c:pt idx="249">
                  <c:v>0.47602069570430799</c:v>
                </c:pt>
                <c:pt idx="250">
                  <c:v>0.48637536912308499</c:v>
                </c:pt>
                <c:pt idx="251">
                  <c:v>0.47768173882648701</c:v>
                </c:pt>
                <c:pt idx="252">
                  <c:v>0.51134057141934497</c:v>
                </c:pt>
                <c:pt idx="253">
                  <c:v>0.49929552655334097</c:v>
                </c:pt>
                <c:pt idx="254">
                  <c:v>0.501170225591415</c:v>
                </c:pt>
                <c:pt idx="255">
                  <c:v>0.50694852854917205</c:v>
                </c:pt>
                <c:pt idx="256">
                  <c:v>0.51138793091083801</c:v>
                </c:pt>
                <c:pt idx="257">
                  <c:v>0.51298724450767097</c:v>
                </c:pt>
                <c:pt idx="258">
                  <c:v>0.50741091413884298</c:v>
                </c:pt>
                <c:pt idx="259">
                  <c:v>0.52322572783497001</c:v>
                </c:pt>
                <c:pt idx="260">
                  <c:v>0.53414810885395503</c:v>
                </c:pt>
                <c:pt idx="261">
                  <c:v>0.52317113840250895</c:v>
                </c:pt>
                <c:pt idx="262">
                  <c:v>0.51763660249597798</c:v>
                </c:pt>
                <c:pt idx="263">
                  <c:v>0.51185759348791504</c:v>
                </c:pt>
                <c:pt idx="264">
                  <c:v>0.50452931379014898</c:v>
                </c:pt>
                <c:pt idx="265">
                  <c:v>0.48807136821018199</c:v>
                </c:pt>
                <c:pt idx="266">
                  <c:v>0.49131576062243298</c:v>
                </c:pt>
                <c:pt idx="267">
                  <c:v>0.50099484577478504</c:v>
                </c:pt>
                <c:pt idx="268">
                  <c:v>0.49395924653496998</c:v>
                </c:pt>
                <c:pt idx="269">
                  <c:v>0.47898058670753302</c:v>
                </c:pt>
                <c:pt idx="270">
                  <c:v>0.490609783508415</c:v>
                </c:pt>
                <c:pt idx="271">
                  <c:v>0.48492119704696601</c:v>
                </c:pt>
                <c:pt idx="272">
                  <c:v>0.50041214182496796</c:v>
                </c:pt>
                <c:pt idx="273">
                  <c:v>0.48839197391275402</c:v>
                </c:pt>
                <c:pt idx="274">
                  <c:v>0.49518854750119001</c:v>
                </c:pt>
                <c:pt idx="275">
                  <c:v>0.49455114750068402</c:v>
                </c:pt>
                <c:pt idx="276">
                  <c:v>0.49628229689032399</c:v>
                </c:pt>
                <c:pt idx="277">
                  <c:v>0.48759401255477303</c:v>
                </c:pt>
                <c:pt idx="278">
                  <c:v>0.494835316122818</c:v>
                </c:pt>
                <c:pt idx="279">
                  <c:v>0.48110142475090001</c:v>
                </c:pt>
                <c:pt idx="280">
                  <c:v>0.49664799133000798</c:v>
                </c:pt>
                <c:pt idx="281">
                  <c:v>0.49340103294135002</c:v>
                </c:pt>
                <c:pt idx="282">
                  <c:v>0.46849014876463402</c:v>
                </c:pt>
                <c:pt idx="283">
                  <c:v>0.48003426049036702</c:v>
                </c:pt>
                <c:pt idx="284">
                  <c:v>0.47192370464634498</c:v>
                </c:pt>
                <c:pt idx="285">
                  <c:v>0.474697952451619</c:v>
                </c:pt>
                <c:pt idx="286">
                  <c:v>0.48749022705106898</c:v>
                </c:pt>
                <c:pt idx="287">
                  <c:v>0.49317311629498001</c:v>
                </c:pt>
                <c:pt idx="288">
                  <c:v>0.47837949187735701</c:v>
                </c:pt>
                <c:pt idx="289">
                  <c:v>0.463147424369937</c:v>
                </c:pt>
                <c:pt idx="290">
                  <c:v>0.45135858556265301</c:v>
                </c:pt>
                <c:pt idx="291">
                  <c:v>0.47973273137883199</c:v>
                </c:pt>
                <c:pt idx="292">
                  <c:v>0.468259322867421</c:v>
                </c:pt>
                <c:pt idx="293">
                  <c:v>0.464713601202564</c:v>
                </c:pt>
                <c:pt idx="294">
                  <c:v>0.48611737928934401</c:v>
                </c:pt>
                <c:pt idx="295">
                  <c:v>0.49602025373588499</c:v>
                </c:pt>
                <c:pt idx="296">
                  <c:v>0.50086997673679201</c:v>
                </c:pt>
                <c:pt idx="297">
                  <c:v>0.48081184775698099</c:v>
                </c:pt>
                <c:pt idx="298">
                  <c:v>0.50028642226905395</c:v>
                </c:pt>
                <c:pt idx="299">
                  <c:v>0.51429365733754495</c:v>
                </c:pt>
                <c:pt idx="300">
                  <c:v>0.50929768075607396</c:v>
                </c:pt>
                <c:pt idx="301">
                  <c:v>0.50259525699484198</c:v>
                </c:pt>
                <c:pt idx="302">
                  <c:v>0.48145295611338201</c:v>
                </c:pt>
                <c:pt idx="303">
                  <c:v>0.484246447680513</c:v>
                </c:pt>
                <c:pt idx="304">
                  <c:v>0.51106144075572002</c:v>
                </c:pt>
                <c:pt idx="305">
                  <c:v>0.49987516954436501</c:v>
                </c:pt>
                <c:pt idx="306">
                  <c:v>0.50066900425762995</c:v>
                </c:pt>
                <c:pt idx="307">
                  <c:v>0.51390285743279895</c:v>
                </c:pt>
                <c:pt idx="308">
                  <c:v>0.52545098649986899</c:v>
                </c:pt>
                <c:pt idx="309">
                  <c:v>0.55213529960359697</c:v>
                </c:pt>
                <c:pt idx="310">
                  <c:v>0.53190122401984596</c:v>
                </c:pt>
                <c:pt idx="311">
                  <c:v>0.55308912156629897</c:v>
                </c:pt>
                <c:pt idx="312">
                  <c:v>0.56313519228238895</c:v>
                </c:pt>
                <c:pt idx="313">
                  <c:v>0.57333270583654095</c:v>
                </c:pt>
                <c:pt idx="314">
                  <c:v>0.59455007992201003</c:v>
                </c:pt>
                <c:pt idx="315">
                  <c:v>0.58350507819863695</c:v>
                </c:pt>
                <c:pt idx="316">
                  <c:v>0.57946141208039403</c:v>
                </c:pt>
                <c:pt idx="317">
                  <c:v>0.55803172343311602</c:v>
                </c:pt>
                <c:pt idx="318">
                  <c:v>0.57611443614787305</c:v>
                </c:pt>
                <c:pt idx="319">
                  <c:v>0.59797255270994798</c:v>
                </c:pt>
                <c:pt idx="320">
                  <c:v>0.60422288133630897</c:v>
                </c:pt>
                <c:pt idx="321">
                  <c:v>0.60069316677985896</c:v>
                </c:pt>
                <c:pt idx="322">
                  <c:v>0.61922791915882902</c:v>
                </c:pt>
                <c:pt idx="323">
                  <c:v>0.63152275231267496</c:v>
                </c:pt>
                <c:pt idx="324">
                  <c:v>0.61027191936638303</c:v>
                </c:pt>
                <c:pt idx="325">
                  <c:v>0.60212088094668403</c:v>
                </c:pt>
                <c:pt idx="326">
                  <c:v>0.60992749203912699</c:v>
                </c:pt>
                <c:pt idx="327">
                  <c:v>0.63442023737828901</c:v>
                </c:pt>
                <c:pt idx="328">
                  <c:v>0.62936471344799105</c:v>
                </c:pt>
                <c:pt idx="329">
                  <c:v>0.64040022311030498</c:v>
                </c:pt>
                <c:pt idx="330">
                  <c:v>0.64605847275501305</c:v>
                </c:pt>
                <c:pt idx="331">
                  <c:v>0.65900754216702695</c:v>
                </c:pt>
                <c:pt idx="332">
                  <c:v>0.66837802532415802</c:v>
                </c:pt>
                <c:pt idx="333">
                  <c:v>0.66635771543768696</c:v>
                </c:pt>
                <c:pt idx="334">
                  <c:v>0.656734469632</c:v>
                </c:pt>
                <c:pt idx="335">
                  <c:v>0.66725169097063197</c:v>
                </c:pt>
                <c:pt idx="336">
                  <c:v>0.696107499989012</c:v>
                </c:pt>
                <c:pt idx="337">
                  <c:v>0.67740895859622896</c:v>
                </c:pt>
                <c:pt idx="338">
                  <c:v>0.67706724156828901</c:v>
                </c:pt>
                <c:pt idx="339">
                  <c:v>0.65859490900079798</c:v>
                </c:pt>
                <c:pt idx="340">
                  <c:v>0.66330028857727696</c:v>
                </c:pt>
                <c:pt idx="341">
                  <c:v>0.64141699621394799</c:v>
                </c:pt>
                <c:pt idx="342">
                  <c:v>0.63746477209972197</c:v>
                </c:pt>
                <c:pt idx="343">
                  <c:v>0.63024600094567895</c:v>
                </c:pt>
                <c:pt idx="344">
                  <c:v>0.662889503840841</c:v>
                </c:pt>
                <c:pt idx="345">
                  <c:v>0.67132294469571296</c:v>
                </c:pt>
                <c:pt idx="346">
                  <c:v>0.65829903819621305</c:v>
                </c:pt>
                <c:pt idx="347">
                  <c:v>0.68791626870065103</c:v>
                </c:pt>
                <c:pt idx="348">
                  <c:v>0.66324705464820499</c:v>
                </c:pt>
                <c:pt idx="349">
                  <c:v>0.65868657769082595</c:v>
                </c:pt>
                <c:pt idx="350">
                  <c:v>0.66095577499659397</c:v>
                </c:pt>
                <c:pt idx="351">
                  <c:v>0.65271028218590799</c:v>
                </c:pt>
                <c:pt idx="352">
                  <c:v>0.66640122263594503</c:v>
                </c:pt>
                <c:pt idx="353">
                  <c:v>0.67307122963264499</c:v>
                </c:pt>
                <c:pt idx="354">
                  <c:v>0.68948967212255396</c:v>
                </c:pt>
                <c:pt idx="355">
                  <c:v>0.68167198035586896</c:v>
                </c:pt>
                <c:pt idx="356">
                  <c:v>0.67231890473457701</c:v>
                </c:pt>
                <c:pt idx="357">
                  <c:v>0.66978527752889705</c:v>
                </c:pt>
                <c:pt idx="358">
                  <c:v>0.671849163382784</c:v>
                </c:pt>
                <c:pt idx="359">
                  <c:v>0.66573620814492196</c:v>
                </c:pt>
                <c:pt idx="360">
                  <c:v>0.66410667234071596</c:v>
                </c:pt>
                <c:pt idx="361">
                  <c:v>0.65269482300932602</c:v>
                </c:pt>
                <c:pt idx="362">
                  <c:v>0.66336052432161496</c:v>
                </c:pt>
                <c:pt idx="363">
                  <c:v>0.64997581762692602</c:v>
                </c:pt>
                <c:pt idx="364">
                  <c:v>0.660255639808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71-43B9-ADE8-B8D49DB85D94}"/>
            </c:ext>
          </c:extLst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4:$A$368</c:f>
              <c:strCache>
                <c:ptCount val="335"/>
                <c:pt idx="0">
                  <c:v>Jan</c:v>
                </c:pt>
                <c:pt idx="31">
                  <c:v>Feb</c:v>
                </c:pt>
                <c:pt idx="59">
                  <c:v>Mar</c:v>
                </c:pt>
                <c:pt idx="90">
                  <c:v>Apr</c:v>
                </c:pt>
                <c:pt idx="120">
                  <c:v>May</c:v>
                </c:pt>
                <c:pt idx="151">
                  <c:v>Jun</c:v>
                </c:pt>
                <c:pt idx="181">
                  <c:v>Jul</c:v>
                </c:pt>
                <c:pt idx="212">
                  <c:v>Aug</c:v>
                </c:pt>
                <c:pt idx="243">
                  <c:v>Sept</c:v>
                </c:pt>
                <c:pt idx="273">
                  <c:v>Oct</c:v>
                </c:pt>
                <c:pt idx="304">
                  <c:v>Nov</c:v>
                </c:pt>
                <c:pt idx="334">
                  <c:v>Dec</c:v>
                </c:pt>
              </c:strCache>
            </c:strRef>
          </c:cat>
          <c:val>
            <c:numRef>
              <c:f>Sheet1!$C$4:$C$368</c:f>
              <c:numCache>
                <c:formatCode>0\ %;\-0\ %;0\ %</c:formatCode>
                <c:ptCount val="365"/>
                <c:pt idx="0">
                  <c:v>0.64983881061698401</c:v>
                </c:pt>
                <c:pt idx="1">
                  <c:v>0.62214953359618297</c:v>
                </c:pt>
                <c:pt idx="2">
                  <c:v>0.62810260416706698</c:v>
                </c:pt>
                <c:pt idx="3">
                  <c:v>0.62964494558852602</c:v>
                </c:pt>
                <c:pt idx="4">
                  <c:v>0.64172486636822001</c:v>
                </c:pt>
                <c:pt idx="5">
                  <c:v>0.64598729553803602</c:v>
                </c:pt>
                <c:pt idx="6">
                  <c:v>0.66371353102392305</c:v>
                </c:pt>
                <c:pt idx="7">
                  <c:v>0.66239344192842897</c:v>
                </c:pt>
                <c:pt idx="8">
                  <c:v>0.65661912553726998</c:v>
                </c:pt>
                <c:pt idx="9">
                  <c:v>0.61918589375432498</c:v>
                </c:pt>
                <c:pt idx="10">
                  <c:v>0.61689760417269301</c:v>
                </c:pt>
                <c:pt idx="11">
                  <c:v>0.63292574410591695</c:v>
                </c:pt>
                <c:pt idx="12">
                  <c:v>0.61966629766840697</c:v>
                </c:pt>
                <c:pt idx="13">
                  <c:v>0.63334819423661304</c:v>
                </c:pt>
                <c:pt idx="14">
                  <c:v>0.61553880399447103</c:v>
                </c:pt>
                <c:pt idx="15">
                  <c:v>0.60799077745886998</c:v>
                </c:pt>
                <c:pt idx="16">
                  <c:v>0.59752768499283104</c:v>
                </c:pt>
                <c:pt idx="17">
                  <c:v>0.58540155010786099</c:v>
                </c:pt>
                <c:pt idx="18">
                  <c:v>0.59637248800324805</c:v>
                </c:pt>
                <c:pt idx="19">
                  <c:v>0.57864521006733804</c:v>
                </c:pt>
                <c:pt idx="20">
                  <c:v>0.59627707428940202</c:v>
                </c:pt>
                <c:pt idx="21">
                  <c:v>0.60247624583932302</c:v>
                </c:pt>
                <c:pt idx="22">
                  <c:v>0.60581587934390302</c:v>
                </c:pt>
                <c:pt idx="23">
                  <c:v>0.59389957228044099</c:v>
                </c:pt>
                <c:pt idx="24">
                  <c:v>0.60152305493560998</c:v>
                </c:pt>
                <c:pt idx="25">
                  <c:v>0.60600382349703097</c:v>
                </c:pt>
                <c:pt idx="26">
                  <c:v>0.60457611903478303</c:v>
                </c:pt>
                <c:pt idx="27">
                  <c:v>0.58494781657193995</c:v>
                </c:pt>
                <c:pt idx="28">
                  <c:v>0.59694218216583605</c:v>
                </c:pt>
                <c:pt idx="29">
                  <c:v>0.575898420756497</c:v>
                </c:pt>
                <c:pt idx="30">
                  <c:v>0.58425877090181499</c:v>
                </c:pt>
                <c:pt idx="31">
                  <c:v>0.58498759132864797</c:v>
                </c:pt>
                <c:pt idx="32">
                  <c:v>0.57255154457657298</c:v>
                </c:pt>
                <c:pt idx="33">
                  <c:v>0.57690789582564095</c:v>
                </c:pt>
                <c:pt idx="34">
                  <c:v>0.587774972164812</c:v>
                </c:pt>
                <c:pt idx="35">
                  <c:v>0.57002857043825395</c:v>
                </c:pt>
                <c:pt idx="36">
                  <c:v>0.56414524921861997</c:v>
                </c:pt>
                <c:pt idx="37">
                  <c:v>0.58202352818055203</c:v>
                </c:pt>
                <c:pt idx="38">
                  <c:v>0.58351646588972295</c:v>
                </c:pt>
                <c:pt idx="39">
                  <c:v>0.57040824403724899</c:v>
                </c:pt>
                <c:pt idx="40">
                  <c:v>0.55867151464304599</c:v>
                </c:pt>
                <c:pt idx="41">
                  <c:v>0.53857831767273501</c:v>
                </c:pt>
                <c:pt idx="42">
                  <c:v>0.53905178099912898</c:v>
                </c:pt>
                <c:pt idx="43">
                  <c:v>0.55201301032360195</c:v>
                </c:pt>
                <c:pt idx="44">
                  <c:v>0.56570775516793903</c:v>
                </c:pt>
                <c:pt idx="45">
                  <c:v>0.57143328192663301</c:v>
                </c:pt>
                <c:pt idx="46">
                  <c:v>0.58722158194815</c:v>
                </c:pt>
                <c:pt idx="47">
                  <c:v>0.581507627552037</c:v>
                </c:pt>
                <c:pt idx="48">
                  <c:v>0.56705242514302301</c:v>
                </c:pt>
                <c:pt idx="49">
                  <c:v>0.59266917409918396</c:v>
                </c:pt>
                <c:pt idx="50">
                  <c:v>0.58520426800777303</c:v>
                </c:pt>
                <c:pt idx="51">
                  <c:v>0.57494039739817304</c:v>
                </c:pt>
                <c:pt idx="52">
                  <c:v>0.56970558621309497</c:v>
                </c:pt>
                <c:pt idx="53">
                  <c:v>0.57434781532030399</c:v>
                </c:pt>
                <c:pt idx="54">
                  <c:v>0.571175698263923</c:v>
                </c:pt>
                <c:pt idx="55">
                  <c:v>0.57947945590687799</c:v>
                </c:pt>
                <c:pt idx="56">
                  <c:v>0.58267476933338203</c:v>
                </c:pt>
                <c:pt idx="57">
                  <c:v>0.62000137372477404</c:v>
                </c:pt>
                <c:pt idx="58">
                  <c:v>0.60665514181942404</c:v>
                </c:pt>
                <c:pt idx="59">
                  <c:v>0.60756702559672804</c:v>
                </c:pt>
                <c:pt idx="60">
                  <c:v>0.60136493327658502</c:v>
                </c:pt>
                <c:pt idx="61">
                  <c:v>0.63406146635083105</c:v>
                </c:pt>
                <c:pt idx="62">
                  <c:v>0.62712283551187298</c:v>
                </c:pt>
                <c:pt idx="63">
                  <c:v>0.64336377462059302</c:v>
                </c:pt>
                <c:pt idx="64">
                  <c:v>0.65778651392610199</c:v>
                </c:pt>
                <c:pt idx="65">
                  <c:v>0.66959108039302495</c:v>
                </c:pt>
                <c:pt idx="66">
                  <c:v>0.65503462838944104</c:v>
                </c:pt>
                <c:pt idx="67">
                  <c:v>0.64235153477731</c:v>
                </c:pt>
                <c:pt idx="68">
                  <c:v>0.67219613258136302</c:v>
                </c:pt>
                <c:pt idx="69">
                  <c:v>0.68461774350531801</c:v>
                </c:pt>
                <c:pt idx="70">
                  <c:v>0.68283239626522496</c:v>
                </c:pt>
                <c:pt idx="71">
                  <c:v>0.696975055390194</c:v>
                </c:pt>
                <c:pt idx="72">
                  <c:v>0.69304512209059199</c:v>
                </c:pt>
                <c:pt idx="73">
                  <c:v>0.69823845246654803</c:v>
                </c:pt>
                <c:pt idx="74">
                  <c:v>0.69480048447789799</c:v>
                </c:pt>
                <c:pt idx="75">
                  <c:v>0.68943230689897705</c:v>
                </c:pt>
                <c:pt idx="76">
                  <c:v>0.68204800656657905</c:v>
                </c:pt>
                <c:pt idx="77">
                  <c:v>0.69874869195825196</c:v>
                </c:pt>
                <c:pt idx="78">
                  <c:v>0.68491214825738</c:v>
                </c:pt>
                <c:pt idx="79">
                  <c:v>0.68511182324530195</c:v>
                </c:pt>
                <c:pt idx="80">
                  <c:v>0.678626615365027</c:v>
                </c:pt>
                <c:pt idx="81">
                  <c:v>0.68625974678480395</c:v>
                </c:pt>
                <c:pt idx="82">
                  <c:v>0.70105136483102004</c:v>
                </c:pt>
                <c:pt idx="83">
                  <c:v>0.687142538176715</c:v>
                </c:pt>
                <c:pt idx="84">
                  <c:v>0.66873033826762496</c:v>
                </c:pt>
                <c:pt idx="85">
                  <c:v>0.69243993480216304</c:v>
                </c:pt>
                <c:pt idx="86">
                  <c:v>0.68591867284276198</c:v>
                </c:pt>
                <c:pt idx="87">
                  <c:v>0.67115729186068895</c:v>
                </c:pt>
                <c:pt idx="88">
                  <c:v>0.67655194844842503</c:v>
                </c:pt>
                <c:pt idx="89">
                  <c:v>0.67249358898471701</c:v>
                </c:pt>
                <c:pt idx="90">
                  <c:v>0.68548730652770995</c:v>
                </c:pt>
                <c:pt idx="91">
                  <c:v>0.67681300241266795</c:v>
                </c:pt>
                <c:pt idx="92">
                  <c:v>0.67770876553339598</c:v>
                </c:pt>
                <c:pt idx="93">
                  <c:v>0.64751192361870602</c:v>
                </c:pt>
                <c:pt idx="94">
                  <c:v>0.65039580200545599</c:v>
                </c:pt>
                <c:pt idx="95">
                  <c:v>0.635182841719102</c:v>
                </c:pt>
                <c:pt idx="96">
                  <c:v>0.62767771976640796</c:v>
                </c:pt>
                <c:pt idx="97">
                  <c:v>0.65261103872692305</c:v>
                </c:pt>
                <c:pt idx="98">
                  <c:v>0.627675533698832</c:v>
                </c:pt>
                <c:pt idx="99">
                  <c:v>0.63071027126482404</c:v>
                </c:pt>
                <c:pt idx="100">
                  <c:v>0.63805113783031897</c:v>
                </c:pt>
                <c:pt idx="101">
                  <c:v>0.63350189441627003</c:v>
                </c:pt>
                <c:pt idx="102">
                  <c:v>0.63516460220414594</c:v>
                </c:pt>
                <c:pt idx="103">
                  <c:v>0.63616018866952995</c:v>
                </c:pt>
                <c:pt idx="104">
                  <c:v>0.63594723915767204</c:v>
                </c:pt>
                <c:pt idx="105">
                  <c:v>0.62124532808914101</c:v>
                </c:pt>
                <c:pt idx="106">
                  <c:v>0.63546639912342995</c:v>
                </c:pt>
                <c:pt idx="107">
                  <c:v>0.62704521368882304</c:v>
                </c:pt>
                <c:pt idx="108">
                  <c:v>0.62425902528531296</c:v>
                </c:pt>
                <c:pt idx="109">
                  <c:v>0.61288136421140305</c:v>
                </c:pt>
                <c:pt idx="110">
                  <c:v>0.626348477164129</c:v>
                </c:pt>
                <c:pt idx="111">
                  <c:v>0.62029891116505398</c:v>
                </c:pt>
                <c:pt idx="112">
                  <c:v>0.60995948786688203</c:v>
                </c:pt>
                <c:pt idx="113">
                  <c:v>0.63122518253536597</c:v>
                </c:pt>
                <c:pt idx="114">
                  <c:v>0.65403964205591003</c:v>
                </c:pt>
                <c:pt idx="115">
                  <c:v>0.63240812135920799</c:v>
                </c:pt>
                <c:pt idx="116">
                  <c:v>0.61759986538141698</c:v>
                </c:pt>
                <c:pt idx="117">
                  <c:v>0.63000446176647096</c:v>
                </c:pt>
                <c:pt idx="118">
                  <c:v>0.63682335411440805</c:v>
                </c:pt>
                <c:pt idx="119">
                  <c:v>0.63637581868141002</c:v>
                </c:pt>
                <c:pt idx="120">
                  <c:v>0.63250061347745601</c:v>
                </c:pt>
                <c:pt idx="121">
                  <c:v>0.62167691961395999</c:v>
                </c:pt>
                <c:pt idx="122">
                  <c:v>0.61949796630826603</c:v>
                </c:pt>
                <c:pt idx="123">
                  <c:v>0.63089542650424202</c:v>
                </c:pt>
                <c:pt idx="124">
                  <c:v>0.62669488669106199</c:v>
                </c:pt>
                <c:pt idx="125">
                  <c:v>0.63984624269891199</c:v>
                </c:pt>
                <c:pt idx="126">
                  <c:v>0.65241780512421299</c:v>
                </c:pt>
                <c:pt idx="127">
                  <c:v>0.63962628751256501</c:v>
                </c:pt>
                <c:pt idx="128">
                  <c:v>0.65692863494466502</c:v>
                </c:pt>
                <c:pt idx="129">
                  <c:v>0.65058072448881199</c:v>
                </c:pt>
                <c:pt idx="130">
                  <c:v>0.64296253155120398</c:v>
                </c:pt>
                <c:pt idx="131">
                  <c:v>0.63686959404216603</c:v>
                </c:pt>
                <c:pt idx="132">
                  <c:v>0.639552790717965</c:v>
                </c:pt>
                <c:pt idx="133">
                  <c:v>0.63601041218007603</c:v>
                </c:pt>
                <c:pt idx="134">
                  <c:v>0.65128235950279201</c:v>
                </c:pt>
                <c:pt idx="135">
                  <c:v>0.67035187051762701</c:v>
                </c:pt>
                <c:pt idx="136">
                  <c:v>0.66687708603814899</c:v>
                </c:pt>
                <c:pt idx="137">
                  <c:v>0.66288524634689305</c:v>
                </c:pt>
                <c:pt idx="138">
                  <c:v>0.65141858119416596</c:v>
                </c:pt>
                <c:pt idx="139">
                  <c:v>0.66939026608360797</c:v>
                </c:pt>
                <c:pt idx="140">
                  <c:v>0.67580972214494295</c:v>
                </c:pt>
                <c:pt idx="141">
                  <c:v>0.66151723709370802</c:v>
                </c:pt>
                <c:pt idx="142">
                  <c:v>0.67007501178003404</c:v>
                </c:pt>
                <c:pt idx="143">
                  <c:v>0.65599799127956704</c:v>
                </c:pt>
                <c:pt idx="144">
                  <c:v>0.65034237623539504</c:v>
                </c:pt>
                <c:pt idx="145">
                  <c:v>0.64845036906034703</c:v>
                </c:pt>
                <c:pt idx="146">
                  <c:v>0.66058263377784598</c:v>
                </c:pt>
                <c:pt idx="147">
                  <c:v>0.64472100852205005</c:v>
                </c:pt>
                <c:pt idx="148">
                  <c:v>0.63855341715902103</c:v>
                </c:pt>
                <c:pt idx="149">
                  <c:v>0.64611926191403102</c:v>
                </c:pt>
                <c:pt idx="150">
                  <c:v>0.65823205754199599</c:v>
                </c:pt>
                <c:pt idx="151">
                  <c:v>0.65467487104927402</c:v>
                </c:pt>
                <c:pt idx="152">
                  <c:v>0.64145493088541605</c:v>
                </c:pt>
                <c:pt idx="153">
                  <c:v>0.62137417398379702</c:v>
                </c:pt>
                <c:pt idx="154">
                  <c:v>0.61666208512860399</c:v>
                </c:pt>
                <c:pt idx="155">
                  <c:v>0.60783522038042903</c:v>
                </c:pt>
                <c:pt idx="156">
                  <c:v>0.59082114345389403</c:v>
                </c:pt>
                <c:pt idx="157">
                  <c:v>0.60025190795503502</c:v>
                </c:pt>
                <c:pt idx="158">
                  <c:v>0.59542356419979603</c:v>
                </c:pt>
                <c:pt idx="159">
                  <c:v>0.60182339022325604</c:v>
                </c:pt>
                <c:pt idx="160">
                  <c:v>0.61026543633151398</c:v>
                </c:pt>
                <c:pt idx="161">
                  <c:v>0.59028036870144995</c:v>
                </c:pt>
                <c:pt idx="162">
                  <c:v>0.57310820230097104</c:v>
                </c:pt>
                <c:pt idx="163">
                  <c:v>0.58260522304376305</c:v>
                </c:pt>
                <c:pt idx="164">
                  <c:v>0.55939116204348505</c:v>
                </c:pt>
                <c:pt idx="165">
                  <c:v>0.54860861541925399</c:v>
                </c:pt>
                <c:pt idx="166">
                  <c:v>0.53864851127999402</c:v>
                </c:pt>
                <c:pt idx="167">
                  <c:v>0.51540294932893105</c:v>
                </c:pt>
                <c:pt idx="168">
                  <c:v>0.51946026775754595</c:v>
                </c:pt>
                <c:pt idx="169">
                  <c:v>0.51650200682972203</c:v>
                </c:pt>
                <c:pt idx="170">
                  <c:v>0.50698131253150402</c:v>
                </c:pt>
                <c:pt idx="171">
                  <c:v>0.51650118546258506</c:v>
                </c:pt>
                <c:pt idx="172">
                  <c:v>0.493836265344887</c:v>
                </c:pt>
                <c:pt idx="173">
                  <c:v>0.48644436082241099</c:v>
                </c:pt>
                <c:pt idx="174">
                  <c:v>0.49014818611051603</c:v>
                </c:pt>
                <c:pt idx="175">
                  <c:v>0.49578694190440598</c:v>
                </c:pt>
                <c:pt idx="176">
                  <c:v>0.495579711187775</c:v>
                </c:pt>
                <c:pt idx="177">
                  <c:v>0.49070723610491102</c:v>
                </c:pt>
                <c:pt idx="178">
                  <c:v>0.47961854911074298</c:v>
                </c:pt>
                <c:pt idx="179">
                  <c:v>0.46724227043665001</c:v>
                </c:pt>
                <c:pt idx="180">
                  <c:v>0.45922471726495401</c:v>
                </c:pt>
                <c:pt idx="181">
                  <c:v>0.44813738223685001</c:v>
                </c:pt>
                <c:pt idx="182">
                  <c:v>0.45779230073050797</c:v>
                </c:pt>
                <c:pt idx="183">
                  <c:v>0.457816982777626</c:v>
                </c:pt>
                <c:pt idx="184">
                  <c:v>0.49294293487552698</c:v>
                </c:pt>
                <c:pt idx="185">
                  <c:v>0.474499286132256</c:v>
                </c:pt>
                <c:pt idx="186">
                  <c:v>0.46346754372231702</c:v>
                </c:pt>
                <c:pt idx="187">
                  <c:v>0.458078947281785</c:v>
                </c:pt>
                <c:pt idx="188">
                  <c:v>0.45510862265677399</c:v>
                </c:pt>
                <c:pt idx="189">
                  <c:v>0.44102581615188302</c:v>
                </c:pt>
                <c:pt idx="190">
                  <c:v>0.433159291597353</c:v>
                </c:pt>
                <c:pt idx="191">
                  <c:v>0.461802169144238</c:v>
                </c:pt>
                <c:pt idx="192">
                  <c:v>0.45773080265534999</c:v>
                </c:pt>
                <c:pt idx="193">
                  <c:v>0.443198496793969</c:v>
                </c:pt>
                <c:pt idx="194">
                  <c:v>0.44283044331145799</c:v>
                </c:pt>
                <c:pt idx="195">
                  <c:v>0.46527925048649899</c:v>
                </c:pt>
                <c:pt idx="196">
                  <c:v>0.461586768342239</c:v>
                </c:pt>
                <c:pt idx="197">
                  <c:v>0.48052915425369103</c:v>
                </c:pt>
                <c:pt idx="198">
                  <c:v>0.47387602631629999</c:v>
                </c:pt>
                <c:pt idx="199">
                  <c:v>0.48936940672023999</c:v>
                </c:pt>
                <c:pt idx="200">
                  <c:v>0.48135108418010097</c:v>
                </c:pt>
                <c:pt idx="201">
                  <c:v>0.45910299196687698</c:v>
                </c:pt>
                <c:pt idx="202">
                  <c:v>0.45236742770417698</c:v>
                </c:pt>
                <c:pt idx="203">
                  <c:v>0.44322846148399597</c:v>
                </c:pt>
                <c:pt idx="204">
                  <c:v>0.44105710069520498</c:v>
                </c:pt>
                <c:pt idx="205">
                  <c:v>0.444348388855487</c:v>
                </c:pt>
                <c:pt idx="206">
                  <c:v>0.43471410535407101</c:v>
                </c:pt>
                <c:pt idx="207">
                  <c:v>0.43351974344281202</c:v>
                </c:pt>
                <c:pt idx="208">
                  <c:v>0.44393178875481998</c:v>
                </c:pt>
                <c:pt idx="209">
                  <c:v>0.46580878220142902</c:v>
                </c:pt>
                <c:pt idx="210">
                  <c:v>0.44869757808024902</c:v>
                </c:pt>
                <c:pt idx="211">
                  <c:v>0.47338044354833098</c:v>
                </c:pt>
                <c:pt idx="212">
                  <c:v>0.46757142351126801</c:v>
                </c:pt>
                <c:pt idx="213">
                  <c:v>0.46408661601807399</c:v>
                </c:pt>
                <c:pt idx="214">
                  <c:v>0.42676129355368803</c:v>
                </c:pt>
                <c:pt idx="215">
                  <c:v>0.44028101220635701</c:v>
                </c:pt>
                <c:pt idx="216">
                  <c:v>0.450601549269875</c:v>
                </c:pt>
                <c:pt idx="217">
                  <c:v>0.43546285974508703</c:v>
                </c:pt>
                <c:pt idx="218">
                  <c:v>0.43536671521965298</c:v>
                </c:pt>
                <c:pt idx="219">
                  <c:v>0.46020603362812901</c:v>
                </c:pt>
                <c:pt idx="220">
                  <c:v>0.46357950731729403</c:v>
                </c:pt>
                <c:pt idx="221">
                  <c:v>0.44093381256735698</c:v>
                </c:pt>
                <c:pt idx="222">
                  <c:v>0.446440097541494</c:v>
                </c:pt>
                <c:pt idx="223">
                  <c:v>0.441477768901335</c:v>
                </c:pt>
                <c:pt idx="224">
                  <c:v>0.44182586125224099</c:v>
                </c:pt>
                <c:pt idx="225">
                  <c:v>0.40958269029466798</c:v>
                </c:pt>
                <c:pt idx="226">
                  <c:v>0.42544901453455503</c:v>
                </c:pt>
                <c:pt idx="227">
                  <c:v>0.41716502252697901</c:v>
                </c:pt>
                <c:pt idx="228">
                  <c:v>0.43825725308703201</c:v>
                </c:pt>
                <c:pt idx="229">
                  <c:v>0.41115792318983202</c:v>
                </c:pt>
                <c:pt idx="230">
                  <c:v>0.40504151764401902</c:v>
                </c:pt>
                <c:pt idx="231">
                  <c:v>0.41693848720648102</c:v>
                </c:pt>
                <c:pt idx="232">
                  <c:v>0.438699128444417</c:v>
                </c:pt>
                <c:pt idx="233">
                  <c:v>0.45095005206098898</c:v>
                </c:pt>
                <c:pt idx="234">
                  <c:v>0.42836875539526398</c:v>
                </c:pt>
                <c:pt idx="235">
                  <c:v>0.421634890464059</c:v>
                </c:pt>
                <c:pt idx="236">
                  <c:v>0.43707822619220599</c:v>
                </c:pt>
                <c:pt idx="237">
                  <c:v>0.441692479294163</c:v>
                </c:pt>
                <c:pt idx="238">
                  <c:v>0.44102057409175199</c:v>
                </c:pt>
                <c:pt idx="239">
                  <c:v>0.42131040092205602</c:v>
                </c:pt>
                <c:pt idx="240">
                  <c:v>0.41411171010751002</c:v>
                </c:pt>
                <c:pt idx="241">
                  <c:v>0.42163470600290298</c:v>
                </c:pt>
                <c:pt idx="242">
                  <c:v>0.41246604782054203</c:v>
                </c:pt>
                <c:pt idx="243">
                  <c:v>0.43767054634147701</c:v>
                </c:pt>
                <c:pt idx="244">
                  <c:v>0.44534953141299299</c:v>
                </c:pt>
                <c:pt idx="245">
                  <c:v>0.42682991894384897</c:v>
                </c:pt>
                <c:pt idx="246">
                  <c:v>0.42734785115525897</c:v>
                </c:pt>
                <c:pt idx="247">
                  <c:v>0.43698319797692298</c:v>
                </c:pt>
                <c:pt idx="248">
                  <c:v>0.42242002752973501</c:v>
                </c:pt>
                <c:pt idx="249">
                  <c:v>0.39870093009082302</c:v>
                </c:pt>
                <c:pt idx="250">
                  <c:v>0.40021283777280398</c:v>
                </c:pt>
                <c:pt idx="251">
                  <c:v>0.40867727515574898</c:v>
                </c:pt>
                <c:pt idx="252">
                  <c:v>0.41930176166584399</c:v>
                </c:pt>
                <c:pt idx="253">
                  <c:v>0.41177370067310098</c:v>
                </c:pt>
                <c:pt idx="254">
                  <c:v>0.42253218039123602</c:v>
                </c:pt>
                <c:pt idx="255">
                  <c:v>0.43012364316987001</c:v>
                </c:pt>
                <c:pt idx="256">
                  <c:v>0.41880802538213802</c:v>
                </c:pt>
                <c:pt idx="257">
                  <c:v>0.41120858734790999</c:v>
                </c:pt>
                <c:pt idx="258">
                  <c:v>0.39656298163661102</c:v>
                </c:pt>
                <c:pt idx="259">
                  <c:v>0.39406253773404598</c:v>
                </c:pt>
                <c:pt idx="260">
                  <c:v>0.40777302638109297</c:v>
                </c:pt>
                <c:pt idx="261">
                  <c:v>0.41213618733677998</c:v>
                </c:pt>
                <c:pt idx="262">
                  <c:v>0.40803055893712897</c:v>
                </c:pt>
                <c:pt idx="263">
                  <c:v>0.41737689516419801</c:v>
                </c:pt>
                <c:pt idx="264">
                  <c:v>0.42003051660958202</c:v>
                </c:pt>
                <c:pt idx="265">
                  <c:v>0.43731102282121598</c:v>
                </c:pt>
                <c:pt idx="266">
                  <c:v>0.42332118927510998</c:v>
                </c:pt>
                <c:pt idx="267">
                  <c:v>0.40964479820136301</c:v>
                </c:pt>
                <c:pt idx="268">
                  <c:v>0.41707687896706902</c:v>
                </c:pt>
                <c:pt idx="269">
                  <c:v>0.42162447681698101</c:v>
                </c:pt>
                <c:pt idx="270">
                  <c:v>0.43482709151096699</c:v>
                </c:pt>
                <c:pt idx="271">
                  <c:v>0.42225500450019399</c:v>
                </c:pt>
                <c:pt idx="272">
                  <c:v>0.435704766868032</c:v>
                </c:pt>
                <c:pt idx="273">
                  <c:v>0.41454038016</c:v>
                </c:pt>
                <c:pt idx="274">
                  <c:v>0.398093014368889</c:v>
                </c:pt>
                <c:pt idx="275">
                  <c:v>0.40163741873347802</c:v>
                </c:pt>
                <c:pt idx="276">
                  <c:v>0.39591215444438699</c:v>
                </c:pt>
                <c:pt idx="277">
                  <c:v>0.41425396604321102</c:v>
                </c:pt>
                <c:pt idx="278">
                  <c:v>0.40860732378061398</c:v>
                </c:pt>
                <c:pt idx="279">
                  <c:v>0.40117792784547501</c:v>
                </c:pt>
                <c:pt idx="280">
                  <c:v>0.43238634320195501</c:v>
                </c:pt>
                <c:pt idx="281">
                  <c:v>0.43607924310443702</c:v>
                </c:pt>
                <c:pt idx="282">
                  <c:v>0.414132907452821</c:v>
                </c:pt>
                <c:pt idx="283">
                  <c:v>0.41580661597136898</c:v>
                </c:pt>
                <c:pt idx="284">
                  <c:v>0.39994654430922799</c:v>
                </c:pt>
                <c:pt idx="285">
                  <c:v>0.40946805997458402</c:v>
                </c:pt>
                <c:pt idx="286">
                  <c:v>0.40801734237570703</c:v>
                </c:pt>
                <c:pt idx="287">
                  <c:v>0.40733874808949899</c:v>
                </c:pt>
                <c:pt idx="288">
                  <c:v>0.41276655154588898</c:v>
                </c:pt>
                <c:pt idx="289">
                  <c:v>0.42853775248640902</c:v>
                </c:pt>
                <c:pt idx="290">
                  <c:v>0.41345171300677103</c:v>
                </c:pt>
                <c:pt idx="291">
                  <c:v>0.41580062210079499</c:v>
                </c:pt>
                <c:pt idx="292">
                  <c:v>0.40967159325279501</c:v>
                </c:pt>
                <c:pt idx="293">
                  <c:v>0.39392751802470899</c:v>
                </c:pt>
                <c:pt idx="294">
                  <c:v>0.402480412615845</c:v>
                </c:pt>
                <c:pt idx="295">
                  <c:v>0.393291453718567</c:v>
                </c:pt>
                <c:pt idx="296">
                  <c:v>0.392937862594122</c:v>
                </c:pt>
                <c:pt idx="297">
                  <c:v>0.38926779471716899</c:v>
                </c:pt>
                <c:pt idx="298">
                  <c:v>0.37898945679724699</c:v>
                </c:pt>
                <c:pt idx="299">
                  <c:v>0.37322824407716998</c:v>
                </c:pt>
                <c:pt idx="300">
                  <c:v>0.36511588561172997</c:v>
                </c:pt>
                <c:pt idx="301">
                  <c:v>0.36006289405323999</c:v>
                </c:pt>
                <c:pt idx="302">
                  <c:v>0.354495301833604</c:v>
                </c:pt>
                <c:pt idx="303">
                  <c:v>0.35484578011101398</c:v>
                </c:pt>
                <c:pt idx="304">
                  <c:v>0.35962321219181498</c:v>
                </c:pt>
                <c:pt idx="305">
                  <c:v>0.37920474837276502</c:v>
                </c:pt>
                <c:pt idx="306">
                  <c:v>0.39859780025087999</c:v>
                </c:pt>
                <c:pt idx="307">
                  <c:v>0.39469950408912202</c:v>
                </c:pt>
                <c:pt idx="308">
                  <c:v>0.40667307020511001</c:v>
                </c:pt>
                <c:pt idx="309">
                  <c:v>0.41861925034185099</c:v>
                </c:pt>
                <c:pt idx="310">
                  <c:v>0.393498576869723</c:v>
                </c:pt>
                <c:pt idx="311">
                  <c:v>0.38712349444285599</c:v>
                </c:pt>
                <c:pt idx="312">
                  <c:v>0.39821502403233799</c:v>
                </c:pt>
                <c:pt idx="313">
                  <c:v>0.40348716249814498</c:v>
                </c:pt>
                <c:pt idx="314">
                  <c:v>0.40932811928457802</c:v>
                </c:pt>
                <c:pt idx="315">
                  <c:v>0.42628196898819298</c:v>
                </c:pt>
                <c:pt idx="316">
                  <c:v>0.42235941879578398</c:v>
                </c:pt>
                <c:pt idx="317">
                  <c:v>0.43579800887263098</c:v>
                </c:pt>
                <c:pt idx="318">
                  <c:v>0.4194920784701</c:v>
                </c:pt>
                <c:pt idx="319">
                  <c:v>0.41609019969801703</c:v>
                </c:pt>
                <c:pt idx="320">
                  <c:v>0.421283662369972</c:v>
                </c:pt>
                <c:pt idx="321">
                  <c:v>0.41518897529940801</c:v>
                </c:pt>
                <c:pt idx="322">
                  <c:v>0.41741819542497699</c:v>
                </c:pt>
                <c:pt idx="323">
                  <c:v>0.42602952593705801</c:v>
                </c:pt>
                <c:pt idx="324">
                  <c:v>0.43844288074172</c:v>
                </c:pt>
                <c:pt idx="325">
                  <c:v>0.43083552900137401</c:v>
                </c:pt>
                <c:pt idx="326">
                  <c:v>0.43101579114324701</c:v>
                </c:pt>
                <c:pt idx="327">
                  <c:v>0.43950260211424902</c:v>
                </c:pt>
                <c:pt idx="328">
                  <c:v>0.45009457033854999</c:v>
                </c:pt>
                <c:pt idx="329">
                  <c:v>0.45416156158559101</c:v>
                </c:pt>
                <c:pt idx="330">
                  <c:v>0.47213696208244699</c:v>
                </c:pt>
                <c:pt idx="331">
                  <c:v>0.46928320508927401</c:v>
                </c:pt>
                <c:pt idx="332">
                  <c:v>0.47570951578127102</c:v>
                </c:pt>
                <c:pt idx="333">
                  <c:v>0.47937127341784103</c:v>
                </c:pt>
                <c:pt idx="334">
                  <c:v>0.47716361683263397</c:v>
                </c:pt>
                <c:pt idx="335">
                  <c:v>0.46606324109785402</c:v>
                </c:pt>
                <c:pt idx="336">
                  <c:v>0.44751950123433498</c:v>
                </c:pt>
                <c:pt idx="337">
                  <c:v>0.43081294458867703</c:v>
                </c:pt>
                <c:pt idx="338">
                  <c:v>0.43176834596751601</c:v>
                </c:pt>
                <c:pt idx="339">
                  <c:v>0.43818117166466902</c:v>
                </c:pt>
                <c:pt idx="340">
                  <c:v>0.43143387833583902</c:v>
                </c:pt>
                <c:pt idx="341">
                  <c:v>0.44979937834685801</c:v>
                </c:pt>
                <c:pt idx="342">
                  <c:v>0.46647954087952898</c:v>
                </c:pt>
                <c:pt idx="343">
                  <c:v>0.460602644151694</c:v>
                </c:pt>
                <c:pt idx="344">
                  <c:v>0.46082820175523698</c:v>
                </c:pt>
                <c:pt idx="345">
                  <c:v>0.43340887542774098</c:v>
                </c:pt>
                <c:pt idx="346">
                  <c:v>0.45010725094542198</c:v>
                </c:pt>
                <c:pt idx="347">
                  <c:v>0.43762349556776098</c:v>
                </c:pt>
                <c:pt idx="348">
                  <c:v>0.453464601501882</c:v>
                </c:pt>
                <c:pt idx="349">
                  <c:v>0.44527209182384198</c:v>
                </c:pt>
                <c:pt idx="350">
                  <c:v>0.45164814701540701</c:v>
                </c:pt>
                <c:pt idx="351">
                  <c:v>0.44768203323622302</c:v>
                </c:pt>
                <c:pt idx="352">
                  <c:v>0.44648278061779401</c:v>
                </c:pt>
                <c:pt idx="353">
                  <c:v>0.43994397269518898</c:v>
                </c:pt>
                <c:pt idx="354">
                  <c:v>0.430809445465625</c:v>
                </c:pt>
                <c:pt idx="355">
                  <c:v>0.43695718393923</c:v>
                </c:pt>
                <c:pt idx="356">
                  <c:v>0.43937442993016201</c:v>
                </c:pt>
                <c:pt idx="357">
                  <c:v>0.44283743900453598</c:v>
                </c:pt>
                <c:pt idx="358">
                  <c:v>0.41937125260501301</c:v>
                </c:pt>
                <c:pt idx="359">
                  <c:v>0.42333989698734198</c:v>
                </c:pt>
                <c:pt idx="360">
                  <c:v>0.41624071681781899</c:v>
                </c:pt>
                <c:pt idx="361">
                  <c:v>0.40443377680503301</c:v>
                </c:pt>
                <c:pt idx="362">
                  <c:v>0.41135561666410297</c:v>
                </c:pt>
                <c:pt idx="363">
                  <c:v>0.42507739234013903</c:v>
                </c:pt>
                <c:pt idx="364">
                  <c:v>0.436204545280330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71-43B9-ADE8-B8D49DB85D94}"/>
            </c:ext>
          </c:extLst>
        </c:ser>
        <c:ser>
          <c:idx val="2"/>
          <c:order val="2"/>
          <c:tx>
            <c:strRef>
              <c:f>Sheet1!$D$3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1">
                  <a:lumMod val="90000"/>
                  <a:lumOff val="1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4:$A$368</c:f>
              <c:strCache>
                <c:ptCount val="335"/>
                <c:pt idx="0">
                  <c:v>Jan</c:v>
                </c:pt>
                <c:pt idx="31">
                  <c:v>Feb</c:v>
                </c:pt>
                <c:pt idx="59">
                  <c:v>Mar</c:v>
                </c:pt>
                <c:pt idx="90">
                  <c:v>Apr</c:v>
                </c:pt>
                <c:pt idx="120">
                  <c:v>May</c:v>
                </c:pt>
                <c:pt idx="151">
                  <c:v>Jun</c:v>
                </c:pt>
                <c:pt idx="181">
                  <c:v>Jul</c:v>
                </c:pt>
                <c:pt idx="212">
                  <c:v>Aug</c:v>
                </c:pt>
                <c:pt idx="243">
                  <c:v>Sept</c:v>
                </c:pt>
                <c:pt idx="273">
                  <c:v>Oct</c:v>
                </c:pt>
                <c:pt idx="304">
                  <c:v>Nov</c:v>
                </c:pt>
                <c:pt idx="334">
                  <c:v>Dec</c:v>
                </c:pt>
              </c:strCache>
            </c:strRef>
          </c:cat>
          <c:val>
            <c:numRef>
              <c:f>Sheet1!$D$4:$D$368</c:f>
              <c:numCache>
                <c:formatCode>0\ %;\-0\ %;0\ %</c:formatCode>
                <c:ptCount val="365"/>
                <c:pt idx="0">
                  <c:v>0.446559135093819</c:v>
                </c:pt>
                <c:pt idx="1">
                  <c:v>0.45189433081143698</c:v>
                </c:pt>
                <c:pt idx="2">
                  <c:v>0.44469811553080801</c:v>
                </c:pt>
                <c:pt idx="3">
                  <c:v>0.44010895368178299</c:v>
                </c:pt>
                <c:pt idx="4">
                  <c:v>0.43189604526394898</c:v>
                </c:pt>
                <c:pt idx="5">
                  <c:v>0.44531088711114503</c:v>
                </c:pt>
                <c:pt idx="6">
                  <c:v>0.42100166914808201</c:v>
                </c:pt>
                <c:pt idx="7">
                  <c:v>0.40908177960965902</c:v>
                </c:pt>
                <c:pt idx="8">
                  <c:v>0.40078250619550798</c:v>
                </c:pt>
                <c:pt idx="9">
                  <c:v>0.38890086112097999</c:v>
                </c:pt>
                <c:pt idx="10">
                  <c:v>0.39025688699593702</c:v>
                </c:pt>
                <c:pt idx="11">
                  <c:v>0.37633264812339901</c:v>
                </c:pt>
                <c:pt idx="12">
                  <c:v>0.38658382923565399</c:v>
                </c:pt>
                <c:pt idx="13">
                  <c:v>0.38084858682782902</c:v>
                </c:pt>
                <c:pt idx="14">
                  <c:v>0.37141705726564</c:v>
                </c:pt>
                <c:pt idx="15">
                  <c:v>0.36955254398098297</c:v>
                </c:pt>
                <c:pt idx="16">
                  <c:v>0.36090177410927898</c:v>
                </c:pt>
                <c:pt idx="17">
                  <c:v>0.357922028001182</c:v>
                </c:pt>
                <c:pt idx="18">
                  <c:v>0.350523218168103</c:v>
                </c:pt>
                <c:pt idx="19">
                  <c:v>0.34010501083095301</c:v>
                </c:pt>
                <c:pt idx="20">
                  <c:v>0.33613209565544</c:v>
                </c:pt>
                <c:pt idx="21">
                  <c:v>0.33868498712565698</c:v>
                </c:pt>
                <c:pt idx="22">
                  <c:v>0.33135719399079799</c:v>
                </c:pt>
                <c:pt idx="23">
                  <c:v>0.34308597078167002</c:v>
                </c:pt>
                <c:pt idx="24">
                  <c:v>0.34863379310285197</c:v>
                </c:pt>
                <c:pt idx="25">
                  <c:v>0.33304015040882001</c:v>
                </c:pt>
                <c:pt idx="26">
                  <c:v>0.34543810025032901</c:v>
                </c:pt>
                <c:pt idx="27">
                  <c:v>0.334369587541409</c:v>
                </c:pt>
                <c:pt idx="28">
                  <c:v>0.31016296073715699</c:v>
                </c:pt>
                <c:pt idx="29">
                  <c:v>0.30239303490432201</c:v>
                </c:pt>
                <c:pt idx="30">
                  <c:v>0.280648496129633</c:v>
                </c:pt>
                <c:pt idx="31">
                  <c:v>0.280671508068915</c:v>
                </c:pt>
                <c:pt idx="32">
                  <c:v>0.29392733273199501</c:v>
                </c:pt>
                <c:pt idx="33">
                  <c:v>0.30212361022320999</c:v>
                </c:pt>
                <c:pt idx="34">
                  <c:v>0.30513454980323401</c:v>
                </c:pt>
                <c:pt idx="35">
                  <c:v>0.30072450531918099</c:v>
                </c:pt>
                <c:pt idx="36">
                  <c:v>0.31109216063699502</c:v>
                </c:pt>
                <c:pt idx="37">
                  <c:v>0.298371858140624</c:v>
                </c:pt>
                <c:pt idx="38">
                  <c:v>0.31095558930968398</c:v>
                </c:pt>
                <c:pt idx="39">
                  <c:v>0.31683679816036098</c:v>
                </c:pt>
                <c:pt idx="40">
                  <c:v>0.32667337466663399</c:v>
                </c:pt>
                <c:pt idx="41">
                  <c:v>0.32586556327653399</c:v>
                </c:pt>
                <c:pt idx="42">
                  <c:v>0.32619313293228602</c:v>
                </c:pt>
                <c:pt idx="43">
                  <c:v>0.31540199219724202</c:v>
                </c:pt>
                <c:pt idx="44">
                  <c:v>0.32774499295523402</c:v>
                </c:pt>
                <c:pt idx="45">
                  <c:v>0.35319944614323501</c:v>
                </c:pt>
                <c:pt idx="46">
                  <c:v>0.36166325792700299</c:v>
                </c:pt>
                <c:pt idx="47">
                  <c:v>0.37221136300970897</c:v>
                </c:pt>
                <c:pt idx="48">
                  <c:v>0.38901909798130402</c:v>
                </c:pt>
                <c:pt idx="49">
                  <c:v>0.39322929127074502</c:v>
                </c:pt>
                <c:pt idx="50">
                  <c:v>0.38835397638543601</c:v>
                </c:pt>
                <c:pt idx="51">
                  <c:v>0.38376567607581502</c:v>
                </c:pt>
                <c:pt idx="52">
                  <c:v>0.39733578219821503</c:v>
                </c:pt>
                <c:pt idx="53">
                  <c:v>0.396071131093228</c:v>
                </c:pt>
                <c:pt idx="54">
                  <c:v>0.38597271099897901</c:v>
                </c:pt>
                <c:pt idx="55">
                  <c:v>0.40293069801686099</c:v>
                </c:pt>
                <c:pt idx="56">
                  <c:v>0.40208367275260698</c:v>
                </c:pt>
                <c:pt idx="57">
                  <c:v>0.40740238424080699</c:v>
                </c:pt>
                <c:pt idx="58">
                  <c:v>0.41147409418202402</c:v>
                </c:pt>
                <c:pt idx="59">
                  <c:v>0.42245126792258902</c:v>
                </c:pt>
                <c:pt idx="60">
                  <c:v>0.44577767323674</c:v>
                </c:pt>
                <c:pt idx="61">
                  <c:v>0.44799371594163701</c:v>
                </c:pt>
                <c:pt idx="62">
                  <c:v>0.45787868262680798</c:v>
                </c:pt>
                <c:pt idx="63">
                  <c:v>0.451492868080414</c:v>
                </c:pt>
                <c:pt idx="64">
                  <c:v>0.467123904211182</c:v>
                </c:pt>
                <c:pt idx="65">
                  <c:v>0.47143125328442198</c:v>
                </c:pt>
                <c:pt idx="66">
                  <c:v>0.47734157439803698</c:v>
                </c:pt>
                <c:pt idx="67">
                  <c:v>0.49186081502850698</c:v>
                </c:pt>
                <c:pt idx="68">
                  <c:v>0.50717354154640804</c:v>
                </c:pt>
                <c:pt idx="69">
                  <c:v>0.51287694640857595</c:v>
                </c:pt>
                <c:pt idx="70">
                  <c:v>0.50610936932318995</c:v>
                </c:pt>
                <c:pt idx="71">
                  <c:v>0.51586098406370595</c:v>
                </c:pt>
                <c:pt idx="72">
                  <c:v>0.51889922192916305</c:v>
                </c:pt>
                <c:pt idx="73">
                  <c:v>0.55430273148725095</c:v>
                </c:pt>
                <c:pt idx="74">
                  <c:v>0.55720743531864203</c:v>
                </c:pt>
                <c:pt idx="75">
                  <c:v>0.550697237531527</c:v>
                </c:pt>
                <c:pt idx="76">
                  <c:v>0.55531795566724695</c:v>
                </c:pt>
                <c:pt idx="77">
                  <c:v>0.57563631071618804</c:v>
                </c:pt>
                <c:pt idx="78">
                  <c:v>0.56283948551424401</c:v>
                </c:pt>
                <c:pt idx="79">
                  <c:v>0.58196016078193102</c:v>
                </c:pt>
                <c:pt idx="80">
                  <c:v>0.58920619737487301</c:v>
                </c:pt>
                <c:pt idx="81">
                  <c:v>0.60308498217706397</c:v>
                </c:pt>
                <c:pt idx="82">
                  <c:v>0.60367746128352195</c:v>
                </c:pt>
                <c:pt idx="83">
                  <c:v>0.61000208592708005</c:v>
                </c:pt>
                <c:pt idx="84">
                  <c:v>0.62302042014737702</c:v>
                </c:pt>
                <c:pt idx="85">
                  <c:v>0.63163851108425095</c:v>
                </c:pt>
                <c:pt idx="86">
                  <c:v>0.63536173951325603</c:v>
                </c:pt>
                <c:pt idx="87">
                  <c:v>0.635902434603697</c:v>
                </c:pt>
                <c:pt idx="88">
                  <c:v>0.64158447053871404</c:v>
                </c:pt>
                <c:pt idx="89">
                  <c:v>0.642520794855579</c:v>
                </c:pt>
                <c:pt idx="90">
                  <c:v>0.64425770884560196</c:v>
                </c:pt>
                <c:pt idx="91">
                  <c:v>0.642437517971024</c:v>
                </c:pt>
                <c:pt idx="92">
                  <c:v>0.63932635848901598</c:v>
                </c:pt>
                <c:pt idx="93">
                  <c:v>0.63898573021890304</c:v>
                </c:pt>
                <c:pt idx="94">
                  <c:v>0.61603583741114099</c:v>
                </c:pt>
                <c:pt idx="95">
                  <c:v>0.61061157155239199</c:v>
                </c:pt>
                <c:pt idx="96">
                  <c:v>0.60982042509930701</c:v>
                </c:pt>
                <c:pt idx="97">
                  <c:v>0.61889469352192705</c:v>
                </c:pt>
                <c:pt idx="98">
                  <c:v>0.61874206819712896</c:v>
                </c:pt>
                <c:pt idx="99">
                  <c:v>0.64328691162906504</c:v>
                </c:pt>
                <c:pt idx="100">
                  <c:v>0.64895855112482503</c:v>
                </c:pt>
                <c:pt idx="101">
                  <c:v>0.65154417805157405</c:v>
                </c:pt>
                <c:pt idx="102">
                  <c:v>0.64458146368728397</c:v>
                </c:pt>
                <c:pt idx="103">
                  <c:v>0.63357151028093694</c:v>
                </c:pt>
                <c:pt idx="104">
                  <c:v>0.64537544588822204</c:v>
                </c:pt>
                <c:pt idx="105">
                  <c:v>0.62304460031431097</c:v>
                </c:pt>
                <c:pt idx="106">
                  <c:v>0.62684490583684105</c:v>
                </c:pt>
                <c:pt idx="107">
                  <c:v>0.61786001777043598</c:v>
                </c:pt>
                <c:pt idx="108">
                  <c:v>0.63969371545958098</c:v>
                </c:pt>
                <c:pt idx="109">
                  <c:v>0.61914054475289304</c:v>
                </c:pt>
                <c:pt idx="110">
                  <c:v>0.644337443079531</c:v>
                </c:pt>
                <c:pt idx="111">
                  <c:v>0.64899955118116004</c:v>
                </c:pt>
                <c:pt idx="112">
                  <c:v>0.64838332004603905</c:v>
                </c:pt>
                <c:pt idx="113">
                  <c:v>0.65741754629511495</c:v>
                </c:pt>
                <c:pt idx="114">
                  <c:v>0.65689011141541098</c:v>
                </c:pt>
                <c:pt idx="115">
                  <c:v>0.63956946167527295</c:v>
                </c:pt>
                <c:pt idx="116">
                  <c:v>0.64075877878962995</c:v>
                </c:pt>
                <c:pt idx="117">
                  <c:v>0.65260888479748502</c:v>
                </c:pt>
                <c:pt idx="118">
                  <c:v>0.65745535483745399</c:v>
                </c:pt>
                <c:pt idx="119">
                  <c:v>0.64925260933066797</c:v>
                </c:pt>
                <c:pt idx="120">
                  <c:v>0.63812564500312297</c:v>
                </c:pt>
                <c:pt idx="121">
                  <c:v>0.64220597674941504</c:v>
                </c:pt>
                <c:pt idx="122">
                  <c:v>0.62391878209474605</c:v>
                </c:pt>
                <c:pt idx="123">
                  <c:v>0.636779155735133</c:v>
                </c:pt>
                <c:pt idx="124">
                  <c:v>0.64797547524980303</c:v>
                </c:pt>
                <c:pt idx="125">
                  <c:v>0.65147846252700303</c:v>
                </c:pt>
                <c:pt idx="126">
                  <c:v>0.64875188527605698</c:v>
                </c:pt>
                <c:pt idx="127">
                  <c:v>0.65452772011946703</c:v>
                </c:pt>
                <c:pt idx="128">
                  <c:v>0.65521745854771896</c:v>
                </c:pt>
                <c:pt idx="129">
                  <c:v>0.63633043805382705</c:v>
                </c:pt>
                <c:pt idx="130">
                  <c:v>0.62459304794403903</c:v>
                </c:pt>
                <c:pt idx="131">
                  <c:v>0.64097275806210896</c:v>
                </c:pt>
                <c:pt idx="132">
                  <c:v>0.65798415691225498</c:v>
                </c:pt>
                <c:pt idx="133">
                  <c:v>0.65138223519691296</c:v>
                </c:pt>
                <c:pt idx="134">
                  <c:v>0.64825558230671099</c:v>
                </c:pt>
                <c:pt idx="135">
                  <c:v>0.65553342555715</c:v>
                </c:pt>
                <c:pt idx="136">
                  <c:v>0.64923223240966599</c:v>
                </c:pt>
                <c:pt idx="137">
                  <c:v>0.63780555306434805</c:v>
                </c:pt>
                <c:pt idx="138">
                  <c:v>0.61780524239734402</c:v>
                </c:pt>
                <c:pt idx="139">
                  <c:v>0.62468420055532703</c:v>
                </c:pt>
                <c:pt idx="140">
                  <c:v>0.601428779890256</c:v>
                </c:pt>
                <c:pt idx="141">
                  <c:v>0.60431153723057096</c:v>
                </c:pt>
                <c:pt idx="142">
                  <c:v>0.59539046379664795</c:v>
                </c:pt>
                <c:pt idx="143">
                  <c:v>0.58141618955353402</c:v>
                </c:pt>
                <c:pt idx="144">
                  <c:v>0.58412877361144799</c:v>
                </c:pt>
                <c:pt idx="145">
                  <c:v>0.58947029057124201</c:v>
                </c:pt>
                <c:pt idx="146">
                  <c:v>0.57700758023496601</c:v>
                </c:pt>
                <c:pt idx="147">
                  <c:v>0.55119851370451101</c:v>
                </c:pt>
                <c:pt idx="148">
                  <c:v>0.56158919713302202</c:v>
                </c:pt>
                <c:pt idx="149">
                  <c:v>0.566434395793046</c:v>
                </c:pt>
                <c:pt idx="150">
                  <c:v>0.58304397830396104</c:v>
                </c:pt>
                <c:pt idx="151">
                  <c:v>0.584099880776484</c:v>
                </c:pt>
                <c:pt idx="152">
                  <c:v>0.60389884409206296</c:v>
                </c:pt>
                <c:pt idx="153">
                  <c:v>0.59553874084059999</c:v>
                </c:pt>
                <c:pt idx="154">
                  <c:v>0.59146507573828699</c:v>
                </c:pt>
                <c:pt idx="155">
                  <c:v>0.57494026315594704</c:v>
                </c:pt>
                <c:pt idx="156">
                  <c:v>0.59118608292447705</c:v>
                </c:pt>
                <c:pt idx="157">
                  <c:v>0.58459810771405696</c:v>
                </c:pt>
                <c:pt idx="158">
                  <c:v>0.58464024826260497</c:v>
                </c:pt>
                <c:pt idx="159">
                  <c:v>0.58825566050823197</c:v>
                </c:pt>
                <c:pt idx="160">
                  <c:v>0.59126076508556402</c:v>
                </c:pt>
                <c:pt idx="161">
                  <c:v>0.55981435316797901</c:v>
                </c:pt>
                <c:pt idx="162">
                  <c:v>0.55702697022870395</c:v>
                </c:pt>
                <c:pt idx="163">
                  <c:v>0.55832192070132403</c:v>
                </c:pt>
                <c:pt idx="164">
                  <c:v>0.53823918496379797</c:v>
                </c:pt>
                <c:pt idx="165">
                  <c:v>0.52580989239702602</c:v>
                </c:pt>
                <c:pt idx="166">
                  <c:v>0.55880894179570495</c:v>
                </c:pt>
                <c:pt idx="167">
                  <c:v>0.54369658808368204</c:v>
                </c:pt>
                <c:pt idx="168">
                  <c:v>0.53855183711743204</c:v>
                </c:pt>
                <c:pt idx="169">
                  <c:v>0.52708983330750503</c:v>
                </c:pt>
                <c:pt idx="170">
                  <c:v>0.52715755336553005</c:v>
                </c:pt>
                <c:pt idx="171">
                  <c:v>0.50489712809480103</c:v>
                </c:pt>
                <c:pt idx="172">
                  <c:v>0.50714421936690102</c:v>
                </c:pt>
                <c:pt idx="173">
                  <c:v>0.50069758091111705</c:v>
                </c:pt>
                <c:pt idx="174">
                  <c:v>0.48046527493594698</c:v>
                </c:pt>
                <c:pt idx="175">
                  <c:v>0.48274892487646098</c:v>
                </c:pt>
                <c:pt idx="176">
                  <c:v>0.504398258710962</c:v>
                </c:pt>
                <c:pt idx="177">
                  <c:v>0.51017169815510899</c:v>
                </c:pt>
                <c:pt idx="178">
                  <c:v>0.48920849016925799</c:v>
                </c:pt>
                <c:pt idx="179">
                  <c:v>0.50047764278681495</c:v>
                </c:pt>
                <c:pt idx="180">
                  <c:v>0.48172581921270102</c:v>
                </c:pt>
                <c:pt idx="181">
                  <c:v>0.46483577251567998</c:v>
                </c:pt>
                <c:pt idx="182">
                  <c:v>0.44266692771443999</c:v>
                </c:pt>
                <c:pt idx="183">
                  <c:v>0.44989342345139199</c:v>
                </c:pt>
                <c:pt idx="184">
                  <c:v>0.44871200522192201</c:v>
                </c:pt>
                <c:pt idx="185">
                  <c:v>0.45058814391906299</c:v>
                </c:pt>
                <c:pt idx="186">
                  <c:v>0.42340620931807899</c:v>
                </c:pt>
                <c:pt idx="187">
                  <c:v>0.41191902078877102</c:v>
                </c:pt>
                <c:pt idx="188">
                  <c:v>0.391777478589587</c:v>
                </c:pt>
                <c:pt idx="189">
                  <c:v>0.39585265896495703</c:v>
                </c:pt>
                <c:pt idx="190">
                  <c:v>0.39849803514037901</c:v>
                </c:pt>
                <c:pt idx="191">
                  <c:v>0.40375637061258801</c:v>
                </c:pt>
                <c:pt idx="192">
                  <c:v>0.37917264848564802</c:v>
                </c:pt>
                <c:pt idx="193">
                  <c:v>0.37676347721348802</c:v>
                </c:pt>
                <c:pt idx="194">
                  <c:v>0.38515598549734698</c:v>
                </c:pt>
                <c:pt idx="195">
                  <c:v>0.37820172185716899</c:v>
                </c:pt>
                <c:pt idx="196">
                  <c:v>0.344213591123669</c:v>
                </c:pt>
                <c:pt idx="197">
                  <c:v>0.34523603006769399</c:v>
                </c:pt>
                <c:pt idx="198">
                  <c:v>0.347385132540943</c:v>
                </c:pt>
                <c:pt idx="199">
                  <c:v>0.35119445168768998</c:v>
                </c:pt>
                <c:pt idx="200">
                  <c:v>0.34506188832763401</c:v>
                </c:pt>
                <c:pt idx="201">
                  <c:v>0.34532403858003802</c:v>
                </c:pt>
                <c:pt idx="202">
                  <c:v>0.33985672900674402</c:v>
                </c:pt>
                <c:pt idx="203">
                  <c:v>0.349395941168335</c:v>
                </c:pt>
                <c:pt idx="204">
                  <c:v>0.35351368298208002</c:v>
                </c:pt>
                <c:pt idx="205">
                  <c:v>0.34659712138424997</c:v>
                </c:pt>
                <c:pt idx="206">
                  <c:v>0.32578297511890503</c:v>
                </c:pt>
                <c:pt idx="207">
                  <c:v>0.34008241549696699</c:v>
                </c:pt>
                <c:pt idx="208">
                  <c:v>0.34196568493183499</c:v>
                </c:pt>
                <c:pt idx="209">
                  <c:v>0.323173463948078</c:v>
                </c:pt>
                <c:pt idx="210">
                  <c:v>0.32222488071591299</c:v>
                </c:pt>
                <c:pt idx="211">
                  <c:v>0.34601188314041198</c:v>
                </c:pt>
                <c:pt idx="212">
                  <c:v>0.34711860039418402</c:v>
                </c:pt>
                <c:pt idx="213">
                  <c:v>0.345232900390255</c:v>
                </c:pt>
                <c:pt idx="214">
                  <c:v>0.33848761691061902</c:v>
                </c:pt>
                <c:pt idx="215">
                  <c:v>0.35208976636182898</c:v>
                </c:pt>
                <c:pt idx="216">
                  <c:v>0.34407299004898401</c:v>
                </c:pt>
                <c:pt idx="217">
                  <c:v>0.34246013535879399</c:v>
                </c:pt>
                <c:pt idx="218">
                  <c:v>0.33197522347844699</c:v>
                </c:pt>
                <c:pt idx="219">
                  <c:v>0.32583888848563902</c:v>
                </c:pt>
                <c:pt idx="220">
                  <c:v>0.33490549851356899</c:v>
                </c:pt>
                <c:pt idx="221">
                  <c:v>0.33162057537003697</c:v>
                </c:pt>
                <c:pt idx="222">
                  <c:v>0.32855674133158702</c:v>
                </c:pt>
                <c:pt idx="223">
                  <c:v>0.32676683184136701</c:v>
                </c:pt>
                <c:pt idx="224">
                  <c:v>0.31619570086302201</c:v>
                </c:pt>
                <c:pt idx="225">
                  <c:v>0.33784616262627098</c:v>
                </c:pt>
                <c:pt idx="226">
                  <c:v>0.33321067796699999</c:v>
                </c:pt>
                <c:pt idx="227">
                  <c:v>0.33324299042260502</c:v>
                </c:pt>
                <c:pt idx="228">
                  <c:v>0.34252765930120299</c:v>
                </c:pt>
                <c:pt idx="229">
                  <c:v>0.35058834031664499</c:v>
                </c:pt>
                <c:pt idx="230">
                  <c:v>0.34601960402830301</c:v>
                </c:pt>
                <c:pt idx="231">
                  <c:v>0.34709657074182498</c:v>
                </c:pt>
                <c:pt idx="232">
                  <c:v>0.34628810968330498</c:v>
                </c:pt>
                <c:pt idx="233">
                  <c:v>0.34683994055101602</c:v>
                </c:pt>
                <c:pt idx="234">
                  <c:v>0.34470043101895897</c:v>
                </c:pt>
                <c:pt idx="235">
                  <c:v>0.33595125046290403</c:v>
                </c:pt>
                <c:pt idx="236">
                  <c:v>0.32645959485325599</c:v>
                </c:pt>
                <c:pt idx="237">
                  <c:v>0.32825274266927901</c:v>
                </c:pt>
                <c:pt idx="238">
                  <c:v>0.34268748209377398</c:v>
                </c:pt>
                <c:pt idx="239">
                  <c:v>0.34500194014369201</c:v>
                </c:pt>
                <c:pt idx="240">
                  <c:v>0.35475431794802897</c:v>
                </c:pt>
                <c:pt idx="241">
                  <c:v>0.35567366714784399</c:v>
                </c:pt>
                <c:pt idx="242">
                  <c:v>0.35150819002631301</c:v>
                </c:pt>
                <c:pt idx="243">
                  <c:v>0.33734661523770398</c:v>
                </c:pt>
                <c:pt idx="244">
                  <c:v>0.34740635459063801</c:v>
                </c:pt>
                <c:pt idx="245">
                  <c:v>0.33633918397960999</c:v>
                </c:pt>
                <c:pt idx="246">
                  <c:v>0.34448424792090199</c:v>
                </c:pt>
                <c:pt idx="247">
                  <c:v>0.34612757965234098</c:v>
                </c:pt>
                <c:pt idx="248">
                  <c:v>0.36145040708364001</c:v>
                </c:pt>
                <c:pt idx="249">
                  <c:v>0.342678098537128</c:v>
                </c:pt>
                <c:pt idx="250">
                  <c:v>0.34812799280319201</c:v>
                </c:pt>
                <c:pt idx="251">
                  <c:v>0.35483092340845501</c:v>
                </c:pt>
                <c:pt idx="252">
                  <c:v>0.38138375933983298</c:v>
                </c:pt>
                <c:pt idx="253">
                  <c:v>0.37241867708076898</c:v>
                </c:pt>
                <c:pt idx="254">
                  <c:v>0.383078539087995</c:v>
                </c:pt>
                <c:pt idx="255">
                  <c:v>0.36735715648002099</c:v>
                </c:pt>
                <c:pt idx="256">
                  <c:v>0.37570211104263201</c:v>
                </c:pt>
                <c:pt idx="257">
                  <c:v>0.38238562619838101</c:v>
                </c:pt>
                <c:pt idx="258">
                  <c:v>0.38158605743273999</c:v>
                </c:pt>
                <c:pt idx="259">
                  <c:v>0.36584116673699202</c:v>
                </c:pt>
                <c:pt idx="260">
                  <c:v>0.35981688847917198</c:v>
                </c:pt>
                <c:pt idx="261">
                  <c:v>0.37715240402623401</c:v>
                </c:pt>
                <c:pt idx="262">
                  <c:v>0.37535227541487998</c:v>
                </c:pt>
                <c:pt idx="263">
                  <c:v>0.39273023015020397</c:v>
                </c:pt>
                <c:pt idx="264">
                  <c:v>0.40561684776197998</c:v>
                </c:pt>
                <c:pt idx="265">
                  <c:v>0.40980512329052998</c:v>
                </c:pt>
                <c:pt idx="266">
                  <c:v>0.41743999550420502</c:v>
                </c:pt>
                <c:pt idx="267">
                  <c:v>0.40104128541941803</c:v>
                </c:pt>
                <c:pt idx="268">
                  <c:v>0.38286653504659401</c:v>
                </c:pt>
                <c:pt idx="269">
                  <c:v>0.373995224154751</c:v>
                </c:pt>
                <c:pt idx="270">
                  <c:v>0.36434542557455402</c:v>
                </c:pt>
                <c:pt idx="271">
                  <c:v>0.36848641836113599</c:v>
                </c:pt>
                <c:pt idx="272">
                  <c:v>0.37091446859652299</c:v>
                </c:pt>
                <c:pt idx="273">
                  <c:v>0.37402419196939302</c:v>
                </c:pt>
                <c:pt idx="274">
                  <c:v>0.38746474297406702</c:v>
                </c:pt>
                <c:pt idx="275">
                  <c:v>0.38249715040064702</c:v>
                </c:pt>
                <c:pt idx="276">
                  <c:v>0.391850886847804</c:v>
                </c:pt>
                <c:pt idx="277">
                  <c:v>0.41236199837726201</c:v>
                </c:pt>
                <c:pt idx="278">
                  <c:v>0.41463604719104802</c:v>
                </c:pt>
                <c:pt idx="279">
                  <c:v>0.43105556166834502</c:v>
                </c:pt>
                <c:pt idx="280">
                  <c:v>0.40580319269207998</c:v>
                </c:pt>
                <c:pt idx="281">
                  <c:v>0.40105586660889098</c:v>
                </c:pt>
                <c:pt idx="282">
                  <c:v>0.40013186854655097</c:v>
                </c:pt>
                <c:pt idx="283">
                  <c:v>0.40502062968403701</c:v>
                </c:pt>
                <c:pt idx="284">
                  <c:v>0.399077668140428</c:v>
                </c:pt>
                <c:pt idx="285">
                  <c:v>0.39314858898515198</c:v>
                </c:pt>
                <c:pt idx="286">
                  <c:v>0.405364776543789</c:v>
                </c:pt>
                <c:pt idx="287">
                  <c:v>0.40313081656087901</c:v>
                </c:pt>
                <c:pt idx="288">
                  <c:v>0.39927460171247597</c:v>
                </c:pt>
                <c:pt idx="289">
                  <c:v>0.40254847533791199</c:v>
                </c:pt>
                <c:pt idx="290">
                  <c:v>0.43036930198873002</c:v>
                </c:pt>
                <c:pt idx="291">
                  <c:v>0.43619301670696797</c:v>
                </c:pt>
                <c:pt idx="292">
                  <c:v>0.44872749212372198</c:v>
                </c:pt>
                <c:pt idx="293">
                  <c:v>0.42858182512597698</c:v>
                </c:pt>
                <c:pt idx="294">
                  <c:v>0.41569284577670301</c:v>
                </c:pt>
                <c:pt idx="295">
                  <c:v>0.43815917448852998</c:v>
                </c:pt>
                <c:pt idx="296">
                  <c:v>0.43628111167371098</c:v>
                </c:pt>
                <c:pt idx="297">
                  <c:v>0.44149004462903402</c:v>
                </c:pt>
                <c:pt idx="298">
                  <c:v>0.46350709831688303</c:v>
                </c:pt>
                <c:pt idx="299">
                  <c:v>0.46427756316937102</c:v>
                </c:pt>
                <c:pt idx="300">
                  <c:v>0.473491295547879</c:v>
                </c:pt>
                <c:pt idx="301">
                  <c:v>0.46215315577274402</c:v>
                </c:pt>
                <c:pt idx="302">
                  <c:v>0.46714383225953499</c:v>
                </c:pt>
                <c:pt idx="303">
                  <c:v>0.464348717457506</c:v>
                </c:pt>
                <c:pt idx="304">
                  <c:v>0.45865146168910498</c:v>
                </c:pt>
                <c:pt idx="305">
                  <c:v>0.469861334621684</c:v>
                </c:pt>
                <c:pt idx="306">
                  <c:v>0.47391342845214601</c:v>
                </c:pt>
                <c:pt idx="307">
                  <c:v>0.45286481938870798</c:v>
                </c:pt>
                <c:pt idx="308">
                  <c:v>0.44781496247769698</c:v>
                </c:pt>
                <c:pt idx="309">
                  <c:v>0.44966772118138898</c:v>
                </c:pt>
                <c:pt idx="310">
                  <c:v>0.46466446435599701</c:v>
                </c:pt>
                <c:pt idx="311">
                  <c:v>0.47876075645654198</c:v>
                </c:pt>
                <c:pt idx="312">
                  <c:v>0.46577416456000598</c:v>
                </c:pt>
                <c:pt idx="313">
                  <c:v>0.46586547690391</c:v>
                </c:pt>
                <c:pt idx="314">
                  <c:v>0.48780753886108202</c:v>
                </c:pt>
                <c:pt idx="315">
                  <c:v>0.49969114141149701</c:v>
                </c:pt>
                <c:pt idx="316">
                  <c:v>0.49723902474082399</c:v>
                </c:pt>
                <c:pt idx="317">
                  <c:v>0.49845524760341497</c:v>
                </c:pt>
                <c:pt idx="318">
                  <c:v>0.50184446309213204</c:v>
                </c:pt>
                <c:pt idx="319">
                  <c:v>0.50482033469703902</c:v>
                </c:pt>
                <c:pt idx="320">
                  <c:v>0.50527300004675102</c:v>
                </c:pt>
                <c:pt idx="321">
                  <c:v>0.50169114043725005</c:v>
                </c:pt>
                <c:pt idx="322">
                  <c:v>0.49174521092007001</c:v>
                </c:pt>
                <c:pt idx="323">
                  <c:v>0.50624051834257799</c:v>
                </c:pt>
                <c:pt idx="324">
                  <c:v>0.517904601720792</c:v>
                </c:pt>
                <c:pt idx="325">
                  <c:v>0.50762198376953904</c:v>
                </c:pt>
                <c:pt idx="326">
                  <c:v>0.51277873364753002</c:v>
                </c:pt>
                <c:pt idx="327">
                  <c:v>0.53300947203789495</c:v>
                </c:pt>
                <c:pt idx="328">
                  <c:v>0.51694324189201202</c:v>
                </c:pt>
                <c:pt idx="329">
                  <c:v>0.51614100525970696</c:v>
                </c:pt>
                <c:pt idx="330">
                  <c:v>0.50838761956953404</c:v>
                </c:pt>
                <c:pt idx="331">
                  <c:v>0.496822754152214</c:v>
                </c:pt>
                <c:pt idx="332">
                  <c:v>0.50586137266823095</c:v>
                </c:pt>
                <c:pt idx="333">
                  <c:v>0.52353777304104099</c:v>
                </c:pt>
                <c:pt idx="334">
                  <c:v>0.50921687376119895</c:v>
                </c:pt>
                <c:pt idx="335">
                  <c:v>0.50431313274429601</c:v>
                </c:pt>
                <c:pt idx="336">
                  <c:v>0.50093398292981695</c:v>
                </c:pt>
                <c:pt idx="337">
                  <c:v>0.51921061138873303</c:v>
                </c:pt>
                <c:pt idx="338">
                  <c:v>0.53592577909907302</c:v>
                </c:pt>
                <c:pt idx="339">
                  <c:v>0.52921880890838602</c:v>
                </c:pt>
                <c:pt idx="340">
                  <c:v>0.54239950567190898</c:v>
                </c:pt>
                <c:pt idx="341">
                  <c:v>0.52368056292925402</c:v>
                </c:pt>
                <c:pt idx="342">
                  <c:v>0.53821555095894102</c:v>
                </c:pt>
                <c:pt idx="343">
                  <c:v>0.533097783509904</c:v>
                </c:pt>
                <c:pt idx="344">
                  <c:v>0.51035131014671897</c:v>
                </c:pt>
                <c:pt idx="345">
                  <c:v>0.523515389925164</c:v>
                </c:pt>
                <c:pt idx="346">
                  <c:v>0.51329500201109302</c:v>
                </c:pt>
                <c:pt idx="347">
                  <c:v>0.53612518723304003</c:v>
                </c:pt>
                <c:pt idx="348">
                  <c:v>0.52990876767709505</c:v>
                </c:pt>
                <c:pt idx="349">
                  <c:v>0.53454285837730497</c:v>
                </c:pt>
                <c:pt idx="350">
                  <c:v>0.53366290038852604</c:v>
                </c:pt>
                <c:pt idx="351">
                  <c:v>0.52032530845953295</c:v>
                </c:pt>
                <c:pt idx="352">
                  <c:v>0.52703287329783199</c:v>
                </c:pt>
                <c:pt idx="353">
                  <c:v>0.51594964261660503</c:v>
                </c:pt>
                <c:pt idx="354">
                  <c:v>0.53483828331212502</c:v>
                </c:pt>
                <c:pt idx="355">
                  <c:v>0.53568733465596696</c:v>
                </c:pt>
                <c:pt idx="356">
                  <c:v>0.53064616124195196</c:v>
                </c:pt>
                <c:pt idx="357">
                  <c:v>0.50641141222944697</c:v>
                </c:pt>
                <c:pt idx="358">
                  <c:v>0.50576776784112598</c:v>
                </c:pt>
                <c:pt idx="359">
                  <c:v>0.52237643110846999</c:v>
                </c:pt>
                <c:pt idx="360">
                  <c:v>0.540253277907211</c:v>
                </c:pt>
                <c:pt idx="361">
                  <c:v>0.53433583093779202</c:v>
                </c:pt>
                <c:pt idx="362">
                  <c:v>0.55893191977511503</c:v>
                </c:pt>
                <c:pt idx="363">
                  <c:v>0.55266172663902602</c:v>
                </c:pt>
                <c:pt idx="364">
                  <c:v>0.561656159800473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71-43B9-ADE8-B8D49DB85D94}"/>
            </c:ext>
          </c:extLst>
        </c:ser>
        <c:ser>
          <c:idx val="3"/>
          <c:order val="3"/>
          <c:tx>
            <c:strRef>
              <c:f>Sheet1!$E$3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4:$A$368</c:f>
              <c:strCache>
                <c:ptCount val="335"/>
                <c:pt idx="0">
                  <c:v>Jan</c:v>
                </c:pt>
                <c:pt idx="31">
                  <c:v>Feb</c:v>
                </c:pt>
                <c:pt idx="59">
                  <c:v>Mar</c:v>
                </c:pt>
                <c:pt idx="90">
                  <c:v>Apr</c:v>
                </c:pt>
                <c:pt idx="120">
                  <c:v>May</c:v>
                </c:pt>
                <c:pt idx="151">
                  <c:v>Jun</c:v>
                </c:pt>
                <c:pt idx="181">
                  <c:v>Jul</c:v>
                </c:pt>
                <c:pt idx="212">
                  <c:v>Aug</c:v>
                </c:pt>
                <c:pt idx="243">
                  <c:v>Sept</c:v>
                </c:pt>
                <c:pt idx="273">
                  <c:v>Oct</c:v>
                </c:pt>
                <c:pt idx="304">
                  <c:v>Nov</c:v>
                </c:pt>
                <c:pt idx="334">
                  <c:v>Dec</c:v>
                </c:pt>
              </c:strCache>
            </c:strRef>
          </c:cat>
          <c:val>
            <c:numRef>
              <c:f>Sheet1!$E$4:$E$368</c:f>
              <c:numCache>
                <c:formatCode>0\ %;\-0\ %;0\ %</c:formatCode>
                <c:ptCount val="365"/>
                <c:pt idx="0">
                  <c:v>0.55723236790526598</c:v>
                </c:pt>
                <c:pt idx="1">
                  <c:v>0.54451526637193903</c:v>
                </c:pt>
                <c:pt idx="2">
                  <c:v>0.563826891420802</c:v>
                </c:pt>
                <c:pt idx="3">
                  <c:v>0.55367971667189897</c:v>
                </c:pt>
                <c:pt idx="4">
                  <c:v>0.56292756778381203</c:v>
                </c:pt>
                <c:pt idx="5">
                  <c:v>0.55619109160173497</c:v>
                </c:pt>
                <c:pt idx="6">
                  <c:v>0.58418092455373005</c:v>
                </c:pt>
                <c:pt idx="7">
                  <c:v>0.58481940785933895</c:v>
                </c:pt>
                <c:pt idx="8">
                  <c:v>0.59759032963418302</c:v>
                </c:pt>
                <c:pt idx="9">
                  <c:v>0.61905481347814995</c:v>
                </c:pt>
                <c:pt idx="10">
                  <c:v>0.617824097224007</c:v>
                </c:pt>
                <c:pt idx="11">
                  <c:v>0.62596074827407699</c:v>
                </c:pt>
                <c:pt idx="12">
                  <c:v>0.60718048722238105</c:v>
                </c:pt>
                <c:pt idx="13">
                  <c:v>0.62567309885108702</c:v>
                </c:pt>
                <c:pt idx="14">
                  <c:v>0.66251143108265398</c:v>
                </c:pt>
                <c:pt idx="15">
                  <c:v>0.65730368048842203</c:v>
                </c:pt>
                <c:pt idx="16">
                  <c:v>0.67593714590301102</c:v>
                </c:pt>
                <c:pt idx="17">
                  <c:v>0.67791515233251298</c:v>
                </c:pt>
                <c:pt idx="18">
                  <c:v>0.69224085088374399</c:v>
                </c:pt>
                <c:pt idx="19">
                  <c:v>0.688092734586916</c:v>
                </c:pt>
                <c:pt idx="20">
                  <c:v>0.70783784544203798</c:v>
                </c:pt>
                <c:pt idx="21">
                  <c:v>0.72729581345412697</c:v>
                </c:pt>
                <c:pt idx="22">
                  <c:v>0.74948004140266999</c:v>
                </c:pt>
                <c:pt idx="23">
                  <c:v>0.74876363729140605</c:v>
                </c:pt>
                <c:pt idx="24">
                  <c:v>0.75598540905591705</c:v>
                </c:pt>
                <c:pt idx="25">
                  <c:v>0.764904825642167</c:v>
                </c:pt>
                <c:pt idx="26">
                  <c:v>0.77549706863479695</c:v>
                </c:pt>
                <c:pt idx="27">
                  <c:v>0.76474793406100094</c:v>
                </c:pt>
                <c:pt idx="28">
                  <c:v>0.76447766654733396</c:v>
                </c:pt>
                <c:pt idx="29">
                  <c:v>0.76543191814163603</c:v>
                </c:pt>
                <c:pt idx="30">
                  <c:v>0.78481668572410301</c:v>
                </c:pt>
                <c:pt idx="31">
                  <c:v>0.82417180366218301</c:v>
                </c:pt>
                <c:pt idx="32">
                  <c:v>0.78249195946438299</c:v>
                </c:pt>
                <c:pt idx="33">
                  <c:v>0.80499973664771696</c:v>
                </c:pt>
                <c:pt idx="34">
                  <c:v>0.79574093976480398</c:v>
                </c:pt>
                <c:pt idx="35">
                  <c:v>0.80876437950192004</c:v>
                </c:pt>
                <c:pt idx="36">
                  <c:v>0.78339167359743</c:v>
                </c:pt>
                <c:pt idx="37">
                  <c:v>0.78541828030002603</c:v>
                </c:pt>
                <c:pt idx="38">
                  <c:v>0.79191098900053403</c:v>
                </c:pt>
                <c:pt idx="39">
                  <c:v>0.792787979532382</c:v>
                </c:pt>
                <c:pt idx="40">
                  <c:v>0.78232512737423898</c:v>
                </c:pt>
                <c:pt idx="41">
                  <c:v>0.798096283731481</c:v>
                </c:pt>
                <c:pt idx="42">
                  <c:v>0.80938128068300896</c:v>
                </c:pt>
                <c:pt idx="43">
                  <c:v>0.80258137341805402</c:v>
                </c:pt>
                <c:pt idx="44">
                  <c:v>0.76540990902561601</c:v>
                </c:pt>
                <c:pt idx="45">
                  <c:v>0.77785877309866802</c:v>
                </c:pt>
                <c:pt idx="46">
                  <c:v>0.76628741605522299</c:v>
                </c:pt>
                <c:pt idx="47">
                  <c:v>0.76181680337513502</c:v>
                </c:pt>
                <c:pt idx="48">
                  <c:v>0.74927097821053301</c:v>
                </c:pt>
                <c:pt idx="49">
                  <c:v>0.744021277892289</c:v>
                </c:pt>
                <c:pt idx="50">
                  <c:v>0.71394612119216205</c:v>
                </c:pt>
                <c:pt idx="51">
                  <c:v>0.69311442492648501</c:v>
                </c:pt>
                <c:pt idx="52">
                  <c:v>0.69676800646112502</c:v>
                </c:pt>
                <c:pt idx="53">
                  <c:v>0.71447707418154704</c:v>
                </c:pt>
                <c:pt idx="54">
                  <c:v>0.70177436957616302</c:v>
                </c:pt>
                <c:pt idx="55">
                  <c:v>0.69118118657087602</c:v>
                </c:pt>
                <c:pt idx="56">
                  <c:v>0.71378422437530697</c:v>
                </c:pt>
                <c:pt idx="57">
                  <c:v>0.71935737567615798</c:v>
                </c:pt>
                <c:pt idx="58">
                  <c:v>0.71133741716464205</c:v>
                </c:pt>
                <c:pt idx="59">
                  <c:v>0.72888065416508296</c:v>
                </c:pt>
                <c:pt idx="60">
                  <c:v>0.72471677964869197</c:v>
                </c:pt>
                <c:pt idx="61">
                  <c:v>0.69875749420637701</c:v>
                </c:pt>
                <c:pt idx="62">
                  <c:v>0.71197043352411604</c:v>
                </c:pt>
                <c:pt idx="63">
                  <c:v>0.70020394683847897</c:v>
                </c:pt>
                <c:pt idx="64">
                  <c:v>0.70133684454303202</c:v>
                </c:pt>
                <c:pt idx="65">
                  <c:v>0.71670666679398398</c:v>
                </c:pt>
                <c:pt idx="66">
                  <c:v>0.71288540295723601</c:v>
                </c:pt>
                <c:pt idx="67">
                  <c:v>0.70897111629232401</c:v>
                </c:pt>
                <c:pt idx="68">
                  <c:v>0.72466643721516399</c:v>
                </c:pt>
                <c:pt idx="69">
                  <c:v>0.72405197834374302</c:v>
                </c:pt>
                <c:pt idx="70">
                  <c:v>0.72467515435837004</c:v>
                </c:pt>
                <c:pt idx="71">
                  <c:v>0.70501491797448801</c:v>
                </c:pt>
                <c:pt idx="72">
                  <c:v>0.68383998611415397</c:v>
                </c:pt>
                <c:pt idx="73">
                  <c:v>0.68641013472836099</c:v>
                </c:pt>
                <c:pt idx="74">
                  <c:v>0.69871178761627395</c:v>
                </c:pt>
                <c:pt idx="75">
                  <c:v>0.69022128978692798</c:v>
                </c:pt>
                <c:pt idx="76">
                  <c:v>0.71057380975431095</c:v>
                </c:pt>
                <c:pt idx="77">
                  <c:v>0.71906286658667795</c:v>
                </c:pt>
                <c:pt idx="78">
                  <c:v>0.72233893764690305</c:v>
                </c:pt>
                <c:pt idx="79">
                  <c:v>0.70582850210335102</c:v>
                </c:pt>
                <c:pt idx="80">
                  <c:v>0.71144414374606701</c:v>
                </c:pt>
                <c:pt idx="81">
                  <c:v>0.74315647072906299</c:v>
                </c:pt>
                <c:pt idx="82">
                  <c:v>0.73914877775475696</c:v>
                </c:pt>
                <c:pt idx="83">
                  <c:v>0.73369547226743503</c:v>
                </c:pt>
                <c:pt idx="84">
                  <c:v>0.74741926857006802</c:v>
                </c:pt>
                <c:pt idx="85">
                  <c:v>0.75269628283493595</c:v>
                </c:pt>
                <c:pt idx="86">
                  <c:v>0.75278034459412602</c:v>
                </c:pt>
                <c:pt idx="87">
                  <c:v>0.73178253176816099</c:v>
                </c:pt>
                <c:pt idx="88">
                  <c:v>0.74872808235918298</c:v>
                </c:pt>
                <c:pt idx="89">
                  <c:v>0.73130712054022196</c:v>
                </c:pt>
                <c:pt idx="90">
                  <c:v>0.72808040187502499</c:v>
                </c:pt>
                <c:pt idx="91">
                  <c:v>0.73981933539873901</c:v>
                </c:pt>
                <c:pt idx="92">
                  <c:v>0.75000625880831495</c:v>
                </c:pt>
                <c:pt idx="93">
                  <c:v>0.76818973912330302</c:v>
                </c:pt>
                <c:pt idx="94">
                  <c:v>0.77913623507780005</c:v>
                </c:pt>
                <c:pt idx="95">
                  <c:v>0.76890107098176697</c:v>
                </c:pt>
                <c:pt idx="96">
                  <c:v>0.77008725942601597</c:v>
                </c:pt>
                <c:pt idx="97">
                  <c:v>0.77159589525602201</c:v>
                </c:pt>
                <c:pt idx="98">
                  <c:v>0.75357690432192104</c:v>
                </c:pt>
                <c:pt idx="99">
                  <c:v>0.75729623679355096</c:v>
                </c:pt>
                <c:pt idx="100">
                  <c:v>0.78714425855433501</c:v>
                </c:pt>
                <c:pt idx="101">
                  <c:v>0.78965256242928805</c:v>
                </c:pt>
                <c:pt idx="102">
                  <c:v>0.80736404365822301</c:v>
                </c:pt>
                <c:pt idx="103">
                  <c:v>0.81496315315300005</c:v>
                </c:pt>
                <c:pt idx="104">
                  <c:v>0.81421560375151902</c:v>
                </c:pt>
                <c:pt idx="105">
                  <c:v>0.81414330845334604</c:v>
                </c:pt>
                <c:pt idx="106">
                  <c:v>0.80978106421057305</c:v>
                </c:pt>
                <c:pt idx="107">
                  <c:v>0.83506574561862801</c:v>
                </c:pt>
                <c:pt idx="108">
                  <c:v>0.85649784897493497</c:v>
                </c:pt>
                <c:pt idx="109">
                  <c:v>0.85751566762442399</c:v>
                </c:pt>
                <c:pt idx="110">
                  <c:v>0.87209387091496704</c:v>
                </c:pt>
                <c:pt idx="111">
                  <c:v>0.86805271277918195</c:v>
                </c:pt>
                <c:pt idx="112">
                  <c:v>0.85383881364857495</c:v>
                </c:pt>
                <c:pt idx="113">
                  <c:v>0.86406900261488695</c:v>
                </c:pt>
                <c:pt idx="114">
                  <c:v>0.87383713338914704</c:v>
                </c:pt>
                <c:pt idx="115">
                  <c:v>0.863782934563744</c:v>
                </c:pt>
                <c:pt idx="116">
                  <c:v>0.87203907266919101</c:v>
                </c:pt>
                <c:pt idx="117">
                  <c:v>0.88734473337112096</c:v>
                </c:pt>
                <c:pt idx="118">
                  <c:v>0.87855385016131804</c:v>
                </c:pt>
                <c:pt idx="119">
                  <c:v>0.87641467757894898</c:v>
                </c:pt>
                <c:pt idx="120">
                  <c:v>0.90271253272524099</c:v>
                </c:pt>
                <c:pt idx="121">
                  <c:v>0.90772149823426096</c:v>
                </c:pt>
                <c:pt idx="122">
                  <c:v>0.88523521334769895</c:v>
                </c:pt>
                <c:pt idx="123">
                  <c:v>0.89540744863702104</c:v>
                </c:pt>
                <c:pt idx="124">
                  <c:v>0.90500515557012895</c:v>
                </c:pt>
                <c:pt idx="125">
                  <c:v>0.89249334186717799</c:v>
                </c:pt>
                <c:pt idx="126">
                  <c:v>0.93026803354069099</c:v>
                </c:pt>
                <c:pt idx="127">
                  <c:v>0.92903384945655998</c:v>
                </c:pt>
                <c:pt idx="128">
                  <c:v>0.92441432340264695</c:v>
                </c:pt>
                <c:pt idx="129">
                  <c:v>0.90988168168365402</c:v>
                </c:pt>
                <c:pt idx="130">
                  <c:v>0.88181448268378104</c:v>
                </c:pt>
                <c:pt idx="131">
                  <c:v>0.90185223531939696</c:v>
                </c:pt>
                <c:pt idx="132">
                  <c:v>0.90636869158696098</c:v>
                </c:pt>
                <c:pt idx="133">
                  <c:v>0.89855536278761905</c:v>
                </c:pt>
                <c:pt idx="134">
                  <c:v>0.89828505678453796</c:v>
                </c:pt>
                <c:pt idx="135">
                  <c:v>0.90235622050403796</c:v>
                </c:pt>
                <c:pt idx="136">
                  <c:v>0.895326588020392</c:v>
                </c:pt>
                <c:pt idx="137">
                  <c:v>0.86323365057814105</c:v>
                </c:pt>
                <c:pt idx="138">
                  <c:v>0.84854924886505401</c:v>
                </c:pt>
                <c:pt idx="139">
                  <c:v>0.84691608752412495</c:v>
                </c:pt>
                <c:pt idx="140">
                  <c:v>0.85176092249551605</c:v>
                </c:pt>
                <c:pt idx="141">
                  <c:v>0.82797193311452399</c:v>
                </c:pt>
                <c:pt idx="142">
                  <c:v>0.843850507597108</c:v>
                </c:pt>
                <c:pt idx="143">
                  <c:v>0.83043917150172497</c:v>
                </c:pt>
                <c:pt idx="144">
                  <c:v>0.82238350271550498</c:v>
                </c:pt>
                <c:pt idx="145">
                  <c:v>0.81673400167129795</c:v>
                </c:pt>
                <c:pt idx="146">
                  <c:v>0.81341661375572705</c:v>
                </c:pt>
                <c:pt idx="147">
                  <c:v>0.80434653221827701</c:v>
                </c:pt>
                <c:pt idx="148">
                  <c:v>0.79804571131923396</c:v>
                </c:pt>
                <c:pt idx="149">
                  <c:v>0.80736901492312296</c:v>
                </c:pt>
                <c:pt idx="150">
                  <c:v>0.78222831223601597</c:v>
                </c:pt>
                <c:pt idx="151">
                  <c:v>0.77639932963387703</c:v>
                </c:pt>
                <c:pt idx="152">
                  <c:v>0.78493571152754305</c:v>
                </c:pt>
                <c:pt idx="153">
                  <c:v>0.75317520764263202</c:v>
                </c:pt>
                <c:pt idx="154">
                  <c:v>0.75588385088577803</c:v>
                </c:pt>
                <c:pt idx="155">
                  <c:v>0.73928480630360205</c:v>
                </c:pt>
                <c:pt idx="156">
                  <c:v>0.70556897481734304</c:v>
                </c:pt>
                <c:pt idx="157">
                  <c:v>0.70889749095655497</c:v>
                </c:pt>
                <c:pt idx="158">
                  <c:v>0.71240505349185101</c:v>
                </c:pt>
                <c:pt idx="159">
                  <c:v>0.71284474275674403</c:v>
                </c:pt>
                <c:pt idx="160">
                  <c:v>0.71440233956728705</c:v>
                </c:pt>
                <c:pt idx="161">
                  <c:v>0.71309200701602404</c:v>
                </c:pt>
                <c:pt idx="162">
                  <c:v>0.70221811125679501</c:v>
                </c:pt>
                <c:pt idx="163">
                  <c:v>0.70612440114616004</c:v>
                </c:pt>
                <c:pt idx="164">
                  <c:v>0.71273887270390701</c:v>
                </c:pt>
                <c:pt idx="165">
                  <c:v>0.70966107146822399</c:v>
                </c:pt>
                <c:pt idx="166">
                  <c:v>0.70218825874413204</c:v>
                </c:pt>
                <c:pt idx="167">
                  <c:v>0.72034773196834001</c:v>
                </c:pt>
                <c:pt idx="168">
                  <c:v>0.71355688059494304</c:v>
                </c:pt>
                <c:pt idx="169">
                  <c:v>0.72075377500391102</c:v>
                </c:pt>
                <c:pt idx="170">
                  <c:v>0.71825778954887298</c:v>
                </c:pt>
                <c:pt idx="171">
                  <c:v>0.72743710711324205</c:v>
                </c:pt>
                <c:pt idx="172">
                  <c:v>0.73665115037510198</c:v>
                </c:pt>
                <c:pt idx="173">
                  <c:v>0.74374598643781498</c:v>
                </c:pt>
                <c:pt idx="174">
                  <c:v>0.72198146581587097</c:v>
                </c:pt>
                <c:pt idx="175">
                  <c:v>0.74085941350642504</c:v>
                </c:pt>
                <c:pt idx="176">
                  <c:v>0.72970456402073502</c:v>
                </c:pt>
                <c:pt idx="177">
                  <c:v>0.72530035289553896</c:v>
                </c:pt>
                <c:pt idx="178">
                  <c:v>0.73665893583048603</c:v>
                </c:pt>
                <c:pt idx="179">
                  <c:v>0.72805617794344202</c:v>
                </c:pt>
                <c:pt idx="180">
                  <c:v>0.739902680518295</c:v>
                </c:pt>
                <c:pt idx="181">
                  <c:v>0.73114272758264698</c:v>
                </c:pt>
                <c:pt idx="182">
                  <c:v>0.74203152486308099</c:v>
                </c:pt>
                <c:pt idx="183">
                  <c:v>0.74327757420327101</c:v>
                </c:pt>
                <c:pt idx="184">
                  <c:v>0.72112605527874796</c:v>
                </c:pt>
                <c:pt idx="185">
                  <c:v>0.72545498573893696</c:v>
                </c:pt>
                <c:pt idx="186">
                  <c:v>0.74793070116494698</c:v>
                </c:pt>
                <c:pt idx="187">
                  <c:v>0.73653142840756902</c:v>
                </c:pt>
                <c:pt idx="188">
                  <c:v>0.73451466798623799</c:v>
                </c:pt>
                <c:pt idx="189">
                  <c:v>0.74636360445053496</c:v>
                </c:pt>
                <c:pt idx="190">
                  <c:v>0.75423681900012296</c:v>
                </c:pt>
                <c:pt idx="191">
                  <c:v>0.74216742724840501</c:v>
                </c:pt>
                <c:pt idx="192">
                  <c:v>0.74587552007700098</c:v>
                </c:pt>
                <c:pt idx="193">
                  <c:v>0.74343119207160202</c:v>
                </c:pt>
                <c:pt idx="194">
                  <c:v>0.72945990946045902</c:v>
                </c:pt>
                <c:pt idx="195">
                  <c:v>0.70597645381130403</c:v>
                </c:pt>
                <c:pt idx="196">
                  <c:v>0.72285083949491902</c:v>
                </c:pt>
                <c:pt idx="197">
                  <c:v>0.72283239909785801</c:v>
                </c:pt>
                <c:pt idx="198">
                  <c:v>0.71838427079901301</c:v>
                </c:pt>
                <c:pt idx="199">
                  <c:v>0.72663671985233502</c:v>
                </c:pt>
                <c:pt idx="200">
                  <c:v>0.72158110137752995</c:v>
                </c:pt>
                <c:pt idx="201">
                  <c:v>0.73660803139664699</c:v>
                </c:pt>
                <c:pt idx="202">
                  <c:v>0.69231030771780799</c:v>
                </c:pt>
                <c:pt idx="203">
                  <c:v>0.687881651406968</c:v>
                </c:pt>
                <c:pt idx="204">
                  <c:v>0.71122320626854296</c:v>
                </c:pt>
                <c:pt idx="205">
                  <c:v>0.69194567002811602</c:v>
                </c:pt>
                <c:pt idx="206">
                  <c:v>0.69892302672376005</c:v>
                </c:pt>
                <c:pt idx="207">
                  <c:v>0.69814718832168099</c:v>
                </c:pt>
                <c:pt idx="208">
                  <c:v>0.69334641750735904</c:v>
                </c:pt>
                <c:pt idx="209">
                  <c:v>0.69329524965312594</c:v>
                </c:pt>
                <c:pt idx="210">
                  <c:v>0.70391678039847705</c:v>
                </c:pt>
                <c:pt idx="211">
                  <c:v>0.693562726461176</c:v>
                </c:pt>
                <c:pt idx="212">
                  <c:v>0.71023829613544798</c:v>
                </c:pt>
                <c:pt idx="213">
                  <c:v>0.68134136274247903</c:v>
                </c:pt>
                <c:pt idx="214">
                  <c:v>0.68564517038155703</c:v>
                </c:pt>
                <c:pt idx="215">
                  <c:v>0.69553401879043397</c:v>
                </c:pt>
                <c:pt idx="216">
                  <c:v>0.68079380462035899</c:v>
                </c:pt>
                <c:pt idx="217">
                  <c:v>0.67839032784789499</c:v>
                </c:pt>
                <c:pt idx="218">
                  <c:v>0.68150357916247095</c:v>
                </c:pt>
                <c:pt idx="219">
                  <c:v>0.68557404513992404</c:v>
                </c:pt>
                <c:pt idx="220">
                  <c:v>0.69964840259153505</c:v>
                </c:pt>
                <c:pt idx="221">
                  <c:v>0.69195837104177005</c:v>
                </c:pt>
                <c:pt idx="222">
                  <c:v>0.69555218265624696</c:v>
                </c:pt>
                <c:pt idx="223">
                  <c:v>0.67196614848137803</c:v>
                </c:pt>
                <c:pt idx="224">
                  <c:v>0.69272218567205501</c:v>
                </c:pt>
                <c:pt idx="225">
                  <c:v>0.70169006303665404</c:v>
                </c:pt>
                <c:pt idx="226">
                  <c:v>0.68881655219343396</c:v>
                </c:pt>
                <c:pt idx="227">
                  <c:v>0.687210029844746</c:v>
                </c:pt>
                <c:pt idx="228">
                  <c:v>0.69849665129248095</c:v>
                </c:pt>
                <c:pt idx="229">
                  <c:v>0.67923936501330595</c:v>
                </c:pt>
                <c:pt idx="230">
                  <c:v>0.66517425046418499</c:v>
                </c:pt>
                <c:pt idx="231">
                  <c:v>0.67022548356593703</c:v>
                </c:pt>
                <c:pt idx="232">
                  <c:v>0.68635173915184799</c:v>
                </c:pt>
                <c:pt idx="233">
                  <c:v>0.69079969182812795</c:v>
                </c:pt>
                <c:pt idx="234">
                  <c:v>0.67862527231575198</c:v>
                </c:pt>
                <c:pt idx="235">
                  <c:v>0.713569264619624</c:v>
                </c:pt>
                <c:pt idx="236">
                  <c:v>0.69573237506721497</c:v>
                </c:pt>
                <c:pt idx="237">
                  <c:v>0.69460145240370597</c:v>
                </c:pt>
                <c:pt idx="238">
                  <c:v>0.69546922866288297</c:v>
                </c:pt>
                <c:pt idx="239">
                  <c:v>0.69971571498397001</c:v>
                </c:pt>
                <c:pt idx="240">
                  <c:v>0.68861809617638803</c:v>
                </c:pt>
                <c:pt idx="241">
                  <c:v>0.69668548089412696</c:v>
                </c:pt>
                <c:pt idx="242">
                  <c:v>0.67233309078335202</c:v>
                </c:pt>
                <c:pt idx="243">
                  <c:v>0.69208107548729703</c:v>
                </c:pt>
                <c:pt idx="244">
                  <c:v>0.69029845788473199</c:v>
                </c:pt>
                <c:pt idx="245">
                  <c:v>0.68861258652057999</c:v>
                </c:pt>
                <c:pt idx="246">
                  <c:v>0.71124774136993596</c:v>
                </c:pt>
                <c:pt idx="247">
                  <c:v>0.71812701663673995</c:v>
                </c:pt>
                <c:pt idx="248">
                  <c:v>0.70554542011469501</c:v>
                </c:pt>
                <c:pt idx="249">
                  <c:v>0.70390343187542603</c:v>
                </c:pt>
                <c:pt idx="250">
                  <c:v>0.68865108260097796</c:v>
                </c:pt>
                <c:pt idx="251">
                  <c:v>0.69756096039287996</c:v>
                </c:pt>
                <c:pt idx="252">
                  <c:v>0.69200422669258899</c:v>
                </c:pt>
                <c:pt idx="253">
                  <c:v>0.71684762995205598</c:v>
                </c:pt>
                <c:pt idx="254">
                  <c:v>0.69125046995237305</c:v>
                </c:pt>
                <c:pt idx="255">
                  <c:v>0.69668286441738003</c:v>
                </c:pt>
                <c:pt idx="256">
                  <c:v>0.70961834033265803</c:v>
                </c:pt>
                <c:pt idx="257">
                  <c:v>0.69733094936372297</c:v>
                </c:pt>
                <c:pt idx="258">
                  <c:v>0.68363022975752796</c:v>
                </c:pt>
                <c:pt idx="259">
                  <c:v>0.69233244827364204</c:v>
                </c:pt>
                <c:pt idx="260">
                  <c:v>0.68671100929774198</c:v>
                </c:pt>
                <c:pt idx="261">
                  <c:v>0.67508129525318294</c:v>
                </c:pt>
                <c:pt idx="262">
                  <c:v>0.67424204749415995</c:v>
                </c:pt>
                <c:pt idx="263">
                  <c:v>0.677647661598757</c:v>
                </c:pt>
                <c:pt idx="264">
                  <c:v>0.68259456516199002</c:v>
                </c:pt>
                <c:pt idx="265">
                  <c:v>0.65325729270756705</c:v>
                </c:pt>
                <c:pt idx="266">
                  <c:v>0.65651028022754498</c:v>
                </c:pt>
                <c:pt idx="267">
                  <c:v>0.659563408251435</c:v>
                </c:pt>
                <c:pt idx="268">
                  <c:v>0.67693708725136403</c:v>
                </c:pt>
                <c:pt idx="269">
                  <c:v>0.67128263567184798</c:v>
                </c:pt>
                <c:pt idx="270">
                  <c:v>0.66026687194607003</c:v>
                </c:pt>
                <c:pt idx="271">
                  <c:v>0.65909187073354003</c:v>
                </c:pt>
                <c:pt idx="272">
                  <c:v>0.66658857154450402</c:v>
                </c:pt>
                <c:pt idx="273">
                  <c:v>0.68839393336082999</c:v>
                </c:pt>
                <c:pt idx="274">
                  <c:v>0.68133000640048402</c:v>
                </c:pt>
                <c:pt idx="275">
                  <c:v>0.71697999401210799</c:v>
                </c:pt>
                <c:pt idx="276">
                  <c:v>0.68899690259178603</c:v>
                </c:pt>
                <c:pt idx="277">
                  <c:v>0.68628410337745904</c:v>
                </c:pt>
                <c:pt idx="278">
                  <c:v>0.68483998269021595</c:v>
                </c:pt>
                <c:pt idx="279">
                  <c:v>0.66354030651959806</c:v>
                </c:pt>
                <c:pt idx="280">
                  <c:v>0.66748847504483599</c:v>
                </c:pt>
                <c:pt idx="281">
                  <c:v>0.67352082085601195</c:v>
                </c:pt>
                <c:pt idx="282">
                  <c:v>0.68572169627183399</c:v>
                </c:pt>
                <c:pt idx="283">
                  <c:v>0.69012742304210895</c:v>
                </c:pt>
                <c:pt idx="284">
                  <c:v>0.70326874447379495</c:v>
                </c:pt>
                <c:pt idx="285">
                  <c:v>0.69713216546241796</c:v>
                </c:pt>
                <c:pt idx="286">
                  <c:v>0.686904293042509</c:v>
                </c:pt>
                <c:pt idx="287">
                  <c:v>0.69682537498847397</c:v>
                </c:pt>
                <c:pt idx="288">
                  <c:v>0.71739502883032202</c:v>
                </c:pt>
                <c:pt idx="289">
                  <c:v>0.73089204663104501</c:v>
                </c:pt>
                <c:pt idx="290">
                  <c:v>0.757739100720764</c:v>
                </c:pt>
                <c:pt idx="291">
                  <c:v>0.75125041967001105</c:v>
                </c:pt>
                <c:pt idx="292">
                  <c:v>0.75193406727715795</c:v>
                </c:pt>
                <c:pt idx="293">
                  <c:v>0.73252419808751101</c:v>
                </c:pt>
                <c:pt idx="294">
                  <c:v>0.75408134278304495</c:v>
                </c:pt>
                <c:pt idx="295">
                  <c:v>0.74527854336326504</c:v>
                </c:pt>
                <c:pt idx="296">
                  <c:v>0.74960471477440704</c:v>
                </c:pt>
                <c:pt idx="297">
                  <c:v>0.75023591035978099</c:v>
                </c:pt>
                <c:pt idx="298">
                  <c:v>0.74739214183459601</c:v>
                </c:pt>
                <c:pt idx="299">
                  <c:v>0.77858936040530702</c:v>
                </c:pt>
                <c:pt idx="300">
                  <c:v>0.76656555270362103</c:v>
                </c:pt>
                <c:pt idx="301">
                  <c:v>0.78618093602758299</c:v>
                </c:pt>
                <c:pt idx="302">
                  <c:v>0.77523885844339402</c:v>
                </c:pt>
                <c:pt idx="303">
                  <c:v>0.75000751255544196</c:v>
                </c:pt>
                <c:pt idx="304">
                  <c:v>0.74581655277102199</c:v>
                </c:pt>
                <c:pt idx="305">
                  <c:v>0.74188339760960098</c:v>
                </c:pt>
                <c:pt idx="306">
                  <c:v>0.74528547864584405</c:v>
                </c:pt>
                <c:pt idx="307">
                  <c:v>0.74258182323117605</c:v>
                </c:pt>
                <c:pt idx="308">
                  <c:v>0.78899679551747304</c:v>
                </c:pt>
                <c:pt idx="309">
                  <c:v>0.806174474590441</c:v>
                </c:pt>
                <c:pt idx="310">
                  <c:v>0.80102055929451599</c:v>
                </c:pt>
                <c:pt idx="311">
                  <c:v>0.80066158058023096</c:v>
                </c:pt>
                <c:pt idx="312">
                  <c:v>0.79754776948183903</c:v>
                </c:pt>
                <c:pt idx="313">
                  <c:v>0.80350313581387001</c:v>
                </c:pt>
                <c:pt idx="314">
                  <c:v>0.79476295936959296</c:v>
                </c:pt>
                <c:pt idx="315">
                  <c:v>0.81905891380575002</c:v>
                </c:pt>
                <c:pt idx="316">
                  <c:v>0.79770765242224695</c:v>
                </c:pt>
                <c:pt idx="317">
                  <c:v>0.81020853281689198</c:v>
                </c:pt>
                <c:pt idx="318">
                  <c:v>0.803678258786932</c:v>
                </c:pt>
                <c:pt idx="319">
                  <c:v>0.79614513486227201</c:v>
                </c:pt>
                <c:pt idx="320">
                  <c:v>0.79449635703097199</c:v>
                </c:pt>
                <c:pt idx="321">
                  <c:v>0.78279784571786604</c:v>
                </c:pt>
                <c:pt idx="322">
                  <c:v>0.79498384366726604</c:v>
                </c:pt>
                <c:pt idx="323">
                  <c:v>0.82461956639338596</c:v>
                </c:pt>
                <c:pt idx="324">
                  <c:v>0.81343404824709697</c:v>
                </c:pt>
                <c:pt idx="325">
                  <c:v>0.81634214560300999</c:v>
                </c:pt>
                <c:pt idx="326">
                  <c:v>0.81043937133475996</c:v>
                </c:pt>
                <c:pt idx="327">
                  <c:v>0.81789823478532997</c:v>
                </c:pt>
                <c:pt idx="328">
                  <c:v>0.809885457242142</c:v>
                </c:pt>
                <c:pt idx="329">
                  <c:v>0.82975145930211103</c:v>
                </c:pt>
                <c:pt idx="330">
                  <c:v>0.85022426222577796</c:v>
                </c:pt>
                <c:pt idx="331">
                  <c:v>0.81759157682553596</c:v>
                </c:pt>
                <c:pt idx="332">
                  <c:v>0.83095933387543897</c:v>
                </c:pt>
                <c:pt idx="333">
                  <c:v>0.84099986856171904</c:v>
                </c:pt>
                <c:pt idx="334">
                  <c:v>0.87974675730586804</c:v>
                </c:pt>
                <c:pt idx="335">
                  <c:v>0.854204242966493</c:v>
                </c:pt>
                <c:pt idx="336">
                  <c:v>0.88041433253545098</c:v>
                </c:pt>
                <c:pt idx="337">
                  <c:v>0.89473032832821497</c:v>
                </c:pt>
                <c:pt idx="338">
                  <c:v>0.87704710690091803</c:v>
                </c:pt>
                <c:pt idx="339">
                  <c:v>0.88301090441517005</c:v>
                </c:pt>
                <c:pt idx="340">
                  <c:v>0.89773566085863199</c:v>
                </c:pt>
                <c:pt idx="341">
                  <c:v>0.87367930919491998</c:v>
                </c:pt>
                <c:pt idx="342">
                  <c:v>0.87711085382751597</c:v>
                </c:pt>
                <c:pt idx="343">
                  <c:v>0.86074476736778405</c:v>
                </c:pt>
                <c:pt idx="344">
                  <c:v>0.885804897847011</c:v>
                </c:pt>
                <c:pt idx="345">
                  <c:v>0.87218937858408996</c:v>
                </c:pt>
                <c:pt idx="346">
                  <c:v>0.88157311984603803</c:v>
                </c:pt>
                <c:pt idx="347">
                  <c:v>0.89206648063687899</c:v>
                </c:pt>
                <c:pt idx="348">
                  <c:v>0.88221817073719699</c:v>
                </c:pt>
                <c:pt idx="349">
                  <c:v>0.88667463115058798</c:v>
                </c:pt>
                <c:pt idx="350">
                  <c:v>0.87688157674576706</c:v>
                </c:pt>
                <c:pt idx="351">
                  <c:v>0.92054814901639004</c:v>
                </c:pt>
                <c:pt idx="352">
                  <c:v>0.90693002358644004</c:v>
                </c:pt>
                <c:pt idx="353">
                  <c:v>0.90126546283908804</c:v>
                </c:pt>
                <c:pt idx="354">
                  <c:v>0.90917918030024203</c:v>
                </c:pt>
                <c:pt idx="355">
                  <c:v>0.91415847076815804</c:v>
                </c:pt>
                <c:pt idx="356">
                  <c:v>0.90359867268767002</c:v>
                </c:pt>
                <c:pt idx="357">
                  <c:v>0.89654261542869396</c:v>
                </c:pt>
                <c:pt idx="358">
                  <c:v>0.89009388274296097</c:v>
                </c:pt>
                <c:pt idx="359">
                  <c:v>0.85186786902371803</c:v>
                </c:pt>
                <c:pt idx="360">
                  <c:v>0.86245444970242202</c:v>
                </c:pt>
                <c:pt idx="361">
                  <c:v>0.87286708810220304</c:v>
                </c:pt>
                <c:pt idx="362">
                  <c:v>0.86555832331805405</c:v>
                </c:pt>
                <c:pt idx="363">
                  <c:v>0.854020749431877</c:v>
                </c:pt>
                <c:pt idx="364">
                  <c:v>0.844460378892683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371-43B9-ADE8-B8D49DB85D94}"/>
            </c:ext>
          </c:extLst>
        </c:ser>
        <c:ser>
          <c:idx val="4"/>
          <c:order val="4"/>
          <c:tx>
            <c:strRef>
              <c:f>Sheet1!$F$3</c:f>
              <c:strCache>
                <c:ptCount val="1"/>
                <c:pt idx="0">
                  <c:v>2023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A$4:$A$368</c:f>
              <c:strCache>
                <c:ptCount val="335"/>
                <c:pt idx="0">
                  <c:v>Jan</c:v>
                </c:pt>
                <c:pt idx="31">
                  <c:v>Feb</c:v>
                </c:pt>
                <c:pt idx="59">
                  <c:v>Mar</c:v>
                </c:pt>
                <c:pt idx="90">
                  <c:v>Apr</c:v>
                </c:pt>
                <c:pt idx="120">
                  <c:v>May</c:v>
                </c:pt>
                <c:pt idx="151">
                  <c:v>Jun</c:v>
                </c:pt>
                <c:pt idx="181">
                  <c:v>Jul</c:v>
                </c:pt>
                <c:pt idx="212">
                  <c:v>Aug</c:v>
                </c:pt>
                <c:pt idx="243">
                  <c:v>Sept</c:v>
                </c:pt>
                <c:pt idx="273">
                  <c:v>Oct</c:v>
                </c:pt>
                <c:pt idx="304">
                  <c:v>Nov</c:v>
                </c:pt>
                <c:pt idx="334">
                  <c:v>Dec</c:v>
                </c:pt>
              </c:strCache>
            </c:strRef>
          </c:cat>
          <c:val>
            <c:numRef>
              <c:f>Sheet1!$F$4:$F$368</c:f>
              <c:numCache>
                <c:formatCode>0\ %;\-0\ %;0\ %</c:formatCode>
                <c:ptCount val="365"/>
                <c:pt idx="0">
                  <c:v>0.87431383475365698</c:v>
                </c:pt>
                <c:pt idx="1">
                  <c:v>0.83132895006153495</c:v>
                </c:pt>
                <c:pt idx="2">
                  <c:v>0.81742396042007304</c:v>
                </c:pt>
                <c:pt idx="3">
                  <c:v>0.80306738955342605</c:v>
                </c:pt>
                <c:pt idx="4">
                  <c:v>0.79172000956483701</c:v>
                </c:pt>
                <c:pt idx="5">
                  <c:v>0.77053395107841305</c:v>
                </c:pt>
                <c:pt idx="6">
                  <c:v>0.78700645997694596</c:v>
                </c:pt>
                <c:pt idx="7">
                  <c:v>0.77414840059382495</c:v>
                </c:pt>
                <c:pt idx="8">
                  <c:v>0.76911252485530501</c:v>
                </c:pt>
                <c:pt idx="9">
                  <c:v>0.75918019476361198</c:v>
                </c:pt>
                <c:pt idx="10">
                  <c:v>0.77070612124154303</c:v>
                </c:pt>
                <c:pt idx="11">
                  <c:v>0.76342520559940197</c:v>
                </c:pt>
                <c:pt idx="12">
                  <c:v>0.72714500568857998</c:v>
                </c:pt>
                <c:pt idx="13">
                  <c:v>0.74029530657470899</c:v>
                </c:pt>
                <c:pt idx="14">
                  <c:v>0.73519584253987802</c:v>
                </c:pt>
                <c:pt idx="15">
                  <c:v>0.745901542120747</c:v>
                </c:pt>
                <c:pt idx="16">
                  <c:v>0.73976978669019799</c:v>
                </c:pt>
                <c:pt idx="17">
                  <c:v>0.73142784674970196</c:v>
                </c:pt>
                <c:pt idx="18">
                  <c:v>0.71352343788398098</c:v>
                </c:pt>
                <c:pt idx="19">
                  <c:v>0.703296280238914</c:v>
                </c:pt>
                <c:pt idx="20">
                  <c:v>0.70796359129138697</c:v>
                </c:pt>
                <c:pt idx="21">
                  <c:v>0.72097552666349296</c:v>
                </c:pt>
                <c:pt idx="22">
                  <c:v>0.74242494677712401</c:v>
                </c:pt>
                <c:pt idx="23">
                  <c:v>0.74794944612026704</c:v>
                </c:pt>
                <c:pt idx="24">
                  <c:v>0.75008137520928997</c:v>
                </c:pt>
                <c:pt idx="25">
                  <c:v>0.729349326903178</c:v>
                </c:pt>
                <c:pt idx="26">
                  <c:v>0.73232555094368501</c:v>
                </c:pt>
                <c:pt idx="27">
                  <c:v>0.73504591809493502</c:v>
                </c:pt>
                <c:pt idx="28">
                  <c:v>0.74047263486945103</c:v>
                </c:pt>
                <c:pt idx="29">
                  <c:v>0.735571598505951</c:v>
                </c:pt>
                <c:pt idx="30">
                  <c:v>0.72166611578165796</c:v>
                </c:pt>
                <c:pt idx="31">
                  <c:v>0.75163530958102998</c:v>
                </c:pt>
                <c:pt idx="32">
                  <c:v>0.76432021750842905</c:v>
                </c:pt>
                <c:pt idx="33">
                  <c:v>0.74919011328349505</c:v>
                </c:pt>
                <c:pt idx="34">
                  <c:v>0.74488506385942599</c:v>
                </c:pt>
                <c:pt idx="35">
                  <c:v>0.748109509077303</c:v>
                </c:pt>
                <c:pt idx="36">
                  <c:v>0.74291758933560204</c:v>
                </c:pt>
                <c:pt idx="37">
                  <c:v>0.738833291806129</c:v>
                </c:pt>
                <c:pt idx="38">
                  <c:v>0.74773392322908006</c:v>
                </c:pt>
                <c:pt idx="39">
                  <c:v>0.73521543507071196</c:v>
                </c:pt>
                <c:pt idx="40">
                  <c:v>0.70785277398254498</c:v>
                </c:pt>
                <c:pt idx="41">
                  <c:v>0.713082988589266</c:v>
                </c:pt>
                <c:pt idx="42">
                  <c:v>0.72541606999501596</c:v>
                </c:pt>
                <c:pt idx="43">
                  <c:v>0.72528464666651904</c:v>
                </c:pt>
                <c:pt idx="44">
                  <c:v>0.75640524672686804</c:v>
                </c:pt>
                <c:pt idx="45">
                  <c:v>0.74270855749141096</c:v>
                </c:pt>
                <c:pt idx="46">
                  <c:v>0.719929787187498</c:v>
                </c:pt>
                <c:pt idx="47">
                  <c:v>0.73429550809579802</c:v>
                </c:pt>
                <c:pt idx="48">
                  <c:v>0.74636815971826698</c:v>
                </c:pt>
                <c:pt idx="49">
                  <c:v>0.73473213495211198</c:v>
                </c:pt>
                <c:pt idx="50">
                  <c:v>0.71566074751658504</c:v>
                </c:pt>
                <c:pt idx="51">
                  <c:v>0.72623773191793894</c:v>
                </c:pt>
                <c:pt idx="52">
                  <c:v>0.71115948005079699</c:v>
                </c:pt>
                <c:pt idx="53">
                  <c:v>0.71898899108456404</c:v>
                </c:pt>
                <c:pt idx="54">
                  <c:v>0.72842673655537804</c:v>
                </c:pt>
                <c:pt idx="55">
                  <c:v>0.75477103876138296</c:v>
                </c:pt>
                <c:pt idx="56">
                  <c:v>0.75806761659118904</c:v>
                </c:pt>
                <c:pt idx="57">
                  <c:v>0.73137573792083999</c:v>
                </c:pt>
                <c:pt idx="58">
                  <c:v>0.730215859450003</c:v>
                </c:pt>
                <c:pt idx="59">
                  <c:v>0.72308389248710203</c:v>
                </c:pt>
                <c:pt idx="60">
                  <c:v>0.75503674873980997</c:v>
                </c:pt>
                <c:pt idx="61">
                  <c:v>0.74904558970409196</c:v>
                </c:pt>
                <c:pt idx="62">
                  <c:v>0.723652502764904</c:v>
                </c:pt>
                <c:pt idx="63">
                  <c:v>0.75268047396576199</c:v>
                </c:pt>
                <c:pt idx="64">
                  <c:v>0.74895160995420895</c:v>
                </c:pt>
                <c:pt idx="65">
                  <c:v>0.73861011482717898</c:v>
                </c:pt>
                <c:pt idx="66">
                  <c:v>0.73753339998006195</c:v>
                </c:pt>
                <c:pt idx="67">
                  <c:v>0.73463813373326303</c:v>
                </c:pt>
                <c:pt idx="68">
                  <c:v>0.72725751997280397</c:v>
                </c:pt>
                <c:pt idx="69">
                  <c:v>0.72254185022773998</c:v>
                </c:pt>
                <c:pt idx="70">
                  <c:v>0.73495032400696303</c:v>
                </c:pt>
                <c:pt idx="71">
                  <c:v>0.74249729883200499</c:v>
                </c:pt>
                <c:pt idx="72">
                  <c:v>0.73172307586168395</c:v>
                </c:pt>
                <c:pt idx="73">
                  <c:v>0.73104749056463902</c:v>
                </c:pt>
                <c:pt idx="74">
                  <c:v>0.717788258684667</c:v>
                </c:pt>
                <c:pt idx="75">
                  <c:v>0.709994708207634</c:v>
                </c:pt>
                <c:pt idx="76">
                  <c:v>0.71857219859708199</c:v>
                </c:pt>
                <c:pt idx="77">
                  <c:v>0.72545248459006495</c:v>
                </c:pt>
                <c:pt idx="78">
                  <c:v>0.716753161116638</c:v>
                </c:pt>
                <c:pt idx="79">
                  <c:v>0.71481452554972902</c:v>
                </c:pt>
                <c:pt idx="80">
                  <c:v>0.73855596091456899</c:v>
                </c:pt>
                <c:pt idx="81">
                  <c:v>0.71477592550207003</c:v>
                </c:pt>
                <c:pt idx="82">
                  <c:v>0.70710625074395095</c:v>
                </c:pt>
                <c:pt idx="83">
                  <c:v>0.70568828102623005</c:v>
                </c:pt>
                <c:pt idx="84">
                  <c:v>0.69414036177869998</c:v>
                </c:pt>
                <c:pt idx="85">
                  <c:v>0.68656153816296395</c:v>
                </c:pt>
                <c:pt idx="86">
                  <c:v>0.68972066798701903</c:v>
                </c:pt>
                <c:pt idx="87">
                  <c:v>0.71090303829141899</c:v>
                </c:pt>
                <c:pt idx="88">
                  <c:v>0.68673184285099598</c:v>
                </c:pt>
                <c:pt idx="89">
                  <c:v>0.69103449643822801</c:v>
                </c:pt>
                <c:pt idx="90">
                  <c:v>0.667518838740911</c:v>
                </c:pt>
                <c:pt idx="91">
                  <c:v>0.67633113866861605</c:v>
                </c:pt>
                <c:pt idx="92">
                  <c:v>0.68037237631795899</c:v>
                </c:pt>
                <c:pt idx="93">
                  <c:v>0.65287430241280398</c:v>
                </c:pt>
                <c:pt idx="94">
                  <c:v>0.67472269268352403</c:v>
                </c:pt>
                <c:pt idx="95">
                  <c:v>0.69087855493346495</c:v>
                </c:pt>
                <c:pt idx="96">
                  <c:v>0.68834422596378797</c:v>
                </c:pt>
                <c:pt idx="97">
                  <c:v>0.70908205844472605</c:v>
                </c:pt>
                <c:pt idx="98">
                  <c:v>0.71414587249828099</c:v>
                </c:pt>
                <c:pt idx="99">
                  <c:v>0.72208519413852201</c:v>
                </c:pt>
                <c:pt idx="100">
                  <c:v>0.70967235242131299</c:v>
                </c:pt>
                <c:pt idx="101">
                  <c:v>0.70107957310897795</c:v>
                </c:pt>
                <c:pt idx="102">
                  <c:v>0.69078067832871404</c:v>
                </c:pt>
                <c:pt idx="103">
                  <c:v>0.70462676818817305</c:v>
                </c:pt>
                <c:pt idx="104">
                  <c:v>0.71144156359673705</c:v>
                </c:pt>
                <c:pt idx="105">
                  <c:v>0.71759022719635501</c:v>
                </c:pt>
                <c:pt idx="106">
                  <c:v>0.72257071996665301</c:v>
                </c:pt>
                <c:pt idx="107">
                  <c:v>0.71427695444275097</c:v>
                </c:pt>
                <c:pt idx="108">
                  <c:v>0.73236844194546602</c:v>
                </c:pt>
                <c:pt idx="109">
                  <c:v>0.74283403309759799</c:v>
                </c:pt>
                <c:pt idx="110">
                  <c:v>0.73252745028254596</c:v>
                </c:pt>
                <c:pt idx="111">
                  <c:v>0.76049410302772003</c:v>
                </c:pt>
                <c:pt idx="112">
                  <c:v>0.77007776562463803</c:v>
                </c:pt>
                <c:pt idx="113">
                  <c:v>0.75422672258184398</c:v>
                </c:pt>
                <c:pt idx="114">
                  <c:v>0.74704996207374996</c:v>
                </c:pt>
                <c:pt idx="115">
                  <c:v>0.74368032188608801</c:v>
                </c:pt>
                <c:pt idx="116">
                  <c:v>0.75565162411480202</c:v>
                </c:pt>
                <c:pt idx="117">
                  <c:v>0.77988682910378604</c:v>
                </c:pt>
                <c:pt idx="118">
                  <c:v>0.78335022343539096</c:v>
                </c:pt>
                <c:pt idx="119">
                  <c:v>0.77998794246016201</c:v>
                </c:pt>
                <c:pt idx="120">
                  <c:v>0.77831107236201702</c:v>
                </c:pt>
                <c:pt idx="121">
                  <c:v>0.75072474098096098</c:v>
                </c:pt>
                <c:pt idx="122">
                  <c:v>0.76049813699413105</c:v>
                </c:pt>
                <c:pt idx="123">
                  <c:v>0.77368119797776302</c:v>
                </c:pt>
                <c:pt idx="124">
                  <c:v>0.76225841545759199</c:v>
                </c:pt>
                <c:pt idx="125">
                  <c:v>0.75503426233140003</c:v>
                </c:pt>
                <c:pt idx="126">
                  <c:v>0.77339762236323395</c:v>
                </c:pt>
                <c:pt idx="127">
                  <c:v>0.77178407757967804</c:v>
                </c:pt>
                <c:pt idx="128">
                  <c:v>0.75851952583490501</c:v>
                </c:pt>
                <c:pt idx="129">
                  <c:v>0.75946994713160998</c:v>
                </c:pt>
                <c:pt idx="130">
                  <c:v>0.78191291093215698</c:v>
                </c:pt>
                <c:pt idx="131">
                  <c:v>0.78241249348853803</c:v>
                </c:pt>
                <c:pt idx="132">
                  <c:v>0.80526353137555695</c:v>
                </c:pt>
                <c:pt idx="133">
                  <c:v>0.79795552493899502</c:v>
                </c:pt>
                <c:pt idx="134">
                  <c:v>0.780471379384305</c:v>
                </c:pt>
                <c:pt idx="135">
                  <c:v>0.76878792363285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371-43B9-ADE8-B8D49DB85D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7556120"/>
        <c:axId val="887555792"/>
      </c:lineChart>
      <c:catAx>
        <c:axId val="887556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87555792"/>
        <c:crosses val="autoZero"/>
        <c:auto val="0"/>
        <c:lblAlgn val="ctr"/>
        <c:lblOffset val="100"/>
        <c:noMultiLvlLbl val="0"/>
      </c:catAx>
      <c:valAx>
        <c:axId val="887555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;\-0\ %;0\ 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887556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381329752888317"/>
          <c:y val="0.91849782508241096"/>
          <c:w val="0.33469867400430853"/>
          <c:h val="4.5827065609896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accent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/>
          </a:solidFill>
        </a:defRPr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486A126-AB85-7009-2B49-80C1C21D75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A1D480-22E2-9CBC-AE21-E44908AFE3A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C74FBC-5BA7-4BAC-9EE6-652294695233}" type="datetimeFigureOut">
              <a:rPr lang="en-US" sz="1000" smtClean="0"/>
              <a:t>6/7/2023</a:t>
            </a:fld>
            <a:endParaRPr lang="en-US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EDE1EB-3DDC-01B0-1D32-E7CF7D81692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C6E391-B3AE-254C-F289-385C3BDE43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CBFA6F-7F3A-4B57-A028-EF386056066C}" type="slidenum">
              <a:rPr lang="en-US" sz="1000" smtClean="0"/>
              <a:t>‹#›</a:t>
            </a:fld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62334491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972579F4-F2E6-4954-9DB3-A4A057D586C8}" type="datetimeFigureOut">
              <a:rPr lang="nb-NO" smtClean="0"/>
              <a:pPr/>
              <a:t>07.06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9C844E6C-6CA4-4359-B9A3-8ACD46F591E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43743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53448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07D8D4AF-24FF-599F-4BBB-DA109BA853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5423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150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FB80D8B-1AE7-BA50-1D4F-A91542FF762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50089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Data from May 29.</a:t>
            </a:r>
            <a:endParaRPr lang="en-GB">
              <a:cs typeface="Inter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3150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FDED8C33-667E-A457-75FE-DF8ED539FB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92410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844E6C-6CA4-4359-B9A3-8ACD46F591E1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6ACDEBB-EBA7-6ED5-12EC-BCF8B16AB9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6118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042B12-5D5E-F989-E511-BD6777B251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89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  <p15:guide id="2" orient="horz" pos="184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5C0162-E76B-9B57-83F4-B42B840BAE8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600201"/>
            <a:ext cx="5257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2B9882-1384-7222-6B57-836A0C09112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24601" y="1600201"/>
            <a:ext cx="5257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EC6A4C9-81DC-3C11-C417-9014A43B8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B7711B-54B1-FB27-63AB-6BB3BD8199E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D300A43-8DC0-7CED-1FD6-F4825ECFA5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536884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84" userDrawn="1">
          <p15:clr>
            <a:srgbClr val="FBAE40"/>
          </p15:clr>
        </p15:guide>
        <p15:guide id="3" pos="369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DA850E5-CBDB-4728-A7E5-28A3AAA32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5257800" cy="4952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D110BA2-9C55-4CC2-8D36-F06CB538D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4602" y="1600201"/>
            <a:ext cx="5257798" cy="4952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C5AA2FCA-EF1D-4A44-BD72-79B4B40CF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4C6B169-E39B-44AE-C3B7-B3F396F4AD0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2095500"/>
            <a:ext cx="5257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A3E938D-B570-7E2D-CCB3-ED940BB45A5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4601" y="2095500"/>
            <a:ext cx="5257799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2F633D-2B41-FE0F-E32A-EC666FD5E9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E511E4E-6F06-D973-73A0-706DA96588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427197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  <p15:guide id="3" orient="horz" pos="132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A8622D-008C-F773-7A53-BDB8AFDE97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D10496F-4417-7940-D4FF-40D32D0025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301962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84" userDrawn="1">
          <p15:clr>
            <a:srgbClr val="FBAE40"/>
          </p15:clr>
        </p15:guide>
        <p15:guide id="3" pos="2496" userDrawn="1">
          <p15:clr>
            <a:srgbClr val="FBAE40"/>
          </p15:clr>
        </p15:guide>
        <p15:guide id="4" pos="4896" userDrawn="1">
          <p15:clr>
            <a:srgbClr val="FBAE40"/>
          </p15:clr>
        </p15:guide>
        <p15:guide id="5" pos="51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DA850E5-CBDB-4728-A7E5-28A3AAA32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00200"/>
            <a:ext cx="33527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D110BA2-9C55-4CC2-8D36-F06CB538D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9600" y="1600200"/>
            <a:ext cx="3352800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C5AA2FCA-EF1D-4A44-BD72-79B4B40CF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Plassholder for tekst 4">
            <a:extLst>
              <a:ext uri="{FF2B5EF4-FFF2-40B4-BE49-F238E27FC236}">
                <a16:creationId xmlns:a16="http://schemas.microsoft.com/office/drawing/2014/main" id="{52B2F606-CA41-4079-A7B3-B4A9957D7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9600" y="1600201"/>
            <a:ext cx="33527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783E8B4-B35F-6760-5B60-7741D5469AE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EDFB443-23CB-E975-FF76-E6CB8F7502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9270BC3-717B-E7E0-A5A3-C691CBE97D9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DBBE8FA-AFB4-9F91-68E9-DC924A2460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EC91F6-A8BF-6B85-7391-802E0080E3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712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84" userDrawn="1">
          <p15:clr>
            <a:srgbClr val="FBAE40"/>
          </p15:clr>
        </p15:guide>
        <p15:guide id="2" pos="4896" userDrawn="1">
          <p15:clr>
            <a:srgbClr val="FBAE40"/>
          </p15:clr>
        </p15:guide>
        <p15:guide id="3" orient="horz" pos="1320" userDrawn="1">
          <p15:clr>
            <a:srgbClr val="FBAE40"/>
          </p15:clr>
        </p15:guide>
        <p15:guide id="4" pos="5184" userDrawn="1">
          <p15:clr>
            <a:srgbClr val="FBAE40"/>
          </p15:clr>
        </p15:guide>
        <p15:guide id="5" pos="249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C0795957-7880-8C68-BC7B-2BF33CFB774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E30280B-ECDF-DD51-8C77-766B866A8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DAB1D3-F53A-F546-89B2-36CEAFA76AC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991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 userDrawn="1">
          <p15:clr>
            <a:srgbClr val="FBAE40"/>
          </p15:clr>
        </p15:guide>
        <p15:guide id="3" pos="1896" userDrawn="1">
          <p15:clr>
            <a:srgbClr val="FBAE40"/>
          </p15:clr>
        </p15:guide>
        <p15:guide id="4" pos="5784" userDrawn="1">
          <p15:clr>
            <a:srgbClr val="FBAE40"/>
          </p15:clr>
        </p15:guide>
        <p15:guide id="5" pos="5496" userDrawn="1">
          <p15:clr>
            <a:srgbClr val="FBAE40"/>
          </p15:clr>
        </p15:guide>
        <p15:guide id="6" pos="3696" userDrawn="1">
          <p15:clr>
            <a:srgbClr val="FBAE40"/>
          </p15:clr>
        </p15:guide>
        <p15:guide id="7" pos="398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C0795957-7880-8C68-BC7B-2BF33CFB774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0EF37783-351E-1B71-591B-A8455C930D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CAED7E9A-1480-1690-353A-304B25D23CF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34671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35E242E-D949-873F-C028-BFA8ED759544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63246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A1B347C1-9E60-7915-779F-5914A137192B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91821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D2FD23-38F8-C198-41AB-B50617E27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18D234D-5B55-0358-5A4E-374BD1FA3A0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559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 userDrawn="1">
          <p15:clr>
            <a:srgbClr val="FBAE40"/>
          </p15:clr>
        </p15:guide>
        <p15:guide id="3" pos="1896" userDrawn="1">
          <p15:clr>
            <a:srgbClr val="FBAE40"/>
          </p15:clr>
        </p15:guide>
        <p15:guide id="4" pos="5784" userDrawn="1">
          <p15:clr>
            <a:srgbClr val="FBAE40"/>
          </p15:clr>
        </p15:guide>
        <p15:guide id="5" pos="5496" userDrawn="1">
          <p15:clr>
            <a:srgbClr val="FBAE40"/>
          </p15:clr>
        </p15:guide>
        <p15:guide id="6" pos="3696" userDrawn="1">
          <p15:clr>
            <a:srgbClr val="FBAE40"/>
          </p15:clr>
        </p15:guide>
        <p15:guide id="7" pos="3984" userDrawn="1">
          <p15:clr>
            <a:srgbClr val="FBAE40"/>
          </p15:clr>
        </p15:guide>
        <p15:guide id="8" orient="horz" pos="132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5991225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EA12DDD3-FCAB-48CF-AF3B-71977638F4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56474" y="0"/>
            <a:ext cx="4835525" cy="6057900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CE5003-8528-DA91-51BE-DE782E57B2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600200"/>
            <a:ext cx="5991225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3742649-C254-E371-6150-839C9A67B1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9708CD-3B2C-3697-4F84-C4D2F3991E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377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34" userDrawn="1">
          <p15:clr>
            <a:srgbClr val="FBAE40"/>
          </p15:clr>
        </p15:guide>
        <p15:guide id="3" pos="415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nfobox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5991225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CE5003-8528-DA91-51BE-DE782E57B2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600200"/>
            <a:ext cx="5991225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9140A60-6536-8706-A063-8E46184A4EF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356476" y="1"/>
            <a:ext cx="4835524" cy="6057900"/>
          </a:xfrm>
          <a:solidFill>
            <a:schemeClr val="bg2"/>
          </a:solidFill>
        </p:spPr>
        <p:txBody>
          <a:bodyPr lIns="274320" tIns="548640" rIns="594360" bIns="2743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DBD7558-3596-5117-E6C8-004A126C61A7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12" name="Graphic 4">
              <a:extLst>
                <a:ext uri="{FF2B5EF4-FFF2-40B4-BE49-F238E27FC236}">
                  <a16:creationId xmlns:a16="http://schemas.microsoft.com/office/drawing/2014/main" id="{461DC0E7-5909-7C47-2A21-44B758531DDB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3D0DEA27-B6D5-9FA4-2C57-0FF2A75CDE93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D8180DB-6FF3-F283-40DD-110023633DC0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7F28860-52E1-868A-52EF-DB137F7CB61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A9D6C2-85F9-EC18-74FF-38C8A3E8231E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152A18C-2A23-25F2-5E17-9E3E1D787C8B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AA60BA-8200-7FDE-BAD7-E72E5366FBF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FA9EBFA-943A-F3EB-3B95-D72FFD77BE4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49F1A-2D90-8954-345A-56C634248DDB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F4E016-2631-5D97-C87B-7F2D846CCE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FFD15CB-0D3A-61E3-0847-889CDEC8AAA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375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34" userDrawn="1">
          <p15:clr>
            <a:srgbClr val="FBAE40"/>
          </p15:clr>
        </p15:guide>
        <p15:guide id="3" pos="4158" userDrawn="1">
          <p15:clr>
            <a:srgbClr val="FBAE40"/>
          </p15:clr>
        </p15:guide>
        <p15:guide id="4" pos="501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700" y="512764"/>
            <a:ext cx="5981700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EA12DDD3-FCAB-48CF-AF3B-71977638F4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835526" cy="6057901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F4783-0DDC-3219-A543-B72D71FF76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00700" y="1600200"/>
            <a:ext cx="59817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14BD44F-58DD-C3AE-F1DF-A7F3913633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289AB4-D980-AD32-C6F5-1609FA334E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057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48" userDrawn="1">
          <p15:clr>
            <a:srgbClr val="FBAE40"/>
          </p15:clr>
        </p15:guide>
        <p15:guide id="3" pos="3528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nfobox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700" y="512764"/>
            <a:ext cx="5981700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F4783-0DDC-3219-A543-B72D71FF76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00700" y="1600200"/>
            <a:ext cx="59817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4ED15A61-D1C3-7E78-5C1E-42768E7E75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176" y="1"/>
            <a:ext cx="4835524" cy="6057900"/>
          </a:xfrm>
          <a:solidFill>
            <a:schemeClr val="bg2"/>
          </a:solidFill>
        </p:spPr>
        <p:txBody>
          <a:bodyPr lIns="594360" tIns="548640" rIns="274320" bIns="2743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340E402-0D6C-D0F5-3FA4-B5F68287D4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638AE7E-BA9D-7298-523F-C51E28E5950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0087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48" userDrawn="1">
          <p15:clr>
            <a:srgbClr val="FBAE40"/>
          </p15:clr>
        </p15:guide>
        <p15:guide id="3" pos="3528" userDrawn="1">
          <p15:clr>
            <a:srgbClr val="FBAE40"/>
          </p15:clr>
        </p15:guide>
        <p15:guide id="4" pos="2664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711FE9-B775-5EB3-A7A3-ACC0D03EEF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095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  <p15:guide id="3" orient="horz" pos="184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with oblique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1B9F2FE-AAB7-D1DA-94EA-CA0AF70055C9}"/>
              </a:ext>
            </a:extLst>
          </p:cNvPr>
          <p:cNvSpPr/>
          <p:nvPr userDrawn="1"/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AE8AB1B-570E-EB72-EC18-578BC8F76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" y="1600200"/>
            <a:ext cx="7418545" cy="5257800"/>
          </a:xfrm>
          <a:custGeom>
            <a:avLst/>
            <a:gdLst>
              <a:gd name="connsiteX0" fmla="*/ 0 w 7418545"/>
              <a:gd name="connsiteY0" fmla="*/ 0 h 5257800"/>
              <a:gd name="connsiteX1" fmla="*/ 5399379 w 7418545"/>
              <a:gd name="connsiteY1" fmla="*/ 0 h 5257800"/>
              <a:gd name="connsiteX2" fmla="*/ 7418545 w 7418545"/>
              <a:gd name="connsiteY2" fmla="*/ 5257800 h 5257800"/>
              <a:gd name="connsiteX3" fmla="*/ 0 w 7418545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5" h="5257800">
                <a:moveTo>
                  <a:pt x="0" y="0"/>
                </a:moveTo>
                <a:lnTo>
                  <a:pt x="5399379" y="0"/>
                </a:lnTo>
                <a:lnTo>
                  <a:pt x="7418545" y="5257800"/>
                </a:lnTo>
                <a:lnTo>
                  <a:pt x="0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4048AAD-A57F-9D7C-4675-6490119FD71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8999" y="2133601"/>
            <a:ext cx="4343399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0DEA821-0287-2F34-55F7-9ED420EB29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0C68-3E8E-8CF1-5A76-66319E96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294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0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blique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AE8AB1B-570E-EB72-EC18-578BC8F76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" y="1600200"/>
            <a:ext cx="7418545" cy="5257800"/>
          </a:xfrm>
          <a:custGeom>
            <a:avLst/>
            <a:gdLst>
              <a:gd name="connsiteX0" fmla="*/ 0 w 7418545"/>
              <a:gd name="connsiteY0" fmla="*/ 0 h 5257800"/>
              <a:gd name="connsiteX1" fmla="*/ 5399379 w 7418545"/>
              <a:gd name="connsiteY1" fmla="*/ 0 h 5257800"/>
              <a:gd name="connsiteX2" fmla="*/ 7418545 w 7418545"/>
              <a:gd name="connsiteY2" fmla="*/ 5257800 h 5257800"/>
              <a:gd name="connsiteX3" fmla="*/ 0 w 7418545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5" h="5257800">
                <a:moveTo>
                  <a:pt x="0" y="0"/>
                </a:moveTo>
                <a:lnTo>
                  <a:pt x="5399379" y="0"/>
                </a:lnTo>
                <a:lnTo>
                  <a:pt x="7418545" y="5257800"/>
                </a:lnTo>
                <a:lnTo>
                  <a:pt x="0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4048AAD-A57F-9D7C-4675-6490119FD71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8999" y="2133601"/>
            <a:ext cx="4343399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196E870-AC3F-A2EC-42F1-0A5E315F4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FC2F37-536A-28FD-5A4D-ABB02FDF4C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887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0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with oblique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8A7363C-0182-3208-F323-DE7F74B9A904}"/>
              </a:ext>
            </a:extLst>
          </p:cNvPr>
          <p:cNvSpPr/>
          <p:nvPr userDrawn="1"/>
        </p:nvSpPr>
        <p:spPr>
          <a:xfrm>
            <a:off x="0" y="1600200"/>
            <a:ext cx="7418547" cy="5257800"/>
          </a:xfrm>
          <a:custGeom>
            <a:avLst/>
            <a:gdLst>
              <a:gd name="connsiteX0" fmla="*/ 0 w 7418547"/>
              <a:gd name="connsiteY0" fmla="*/ 0 h 5257800"/>
              <a:gd name="connsiteX1" fmla="*/ 5399381 w 7418547"/>
              <a:gd name="connsiteY1" fmla="*/ 0 h 5257800"/>
              <a:gd name="connsiteX2" fmla="*/ 7418547 w 7418547"/>
              <a:gd name="connsiteY2" fmla="*/ 5257800 h 5257800"/>
              <a:gd name="connsiteX3" fmla="*/ 0 w 7418547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7" h="5257800">
                <a:moveTo>
                  <a:pt x="0" y="0"/>
                </a:moveTo>
                <a:lnTo>
                  <a:pt x="5399381" y="0"/>
                </a:lnTo>
                <a:lnTo>
                  <a:pt x="7418547" y="5257800"/>
                </a:lnTo>
                <a:lnTo>
                  <a:pt x="0" y="5257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92D8C27-FC60-8881-4D1A-A4226BC4FD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Content Placeholder 22">
            <a:extLst>
              <a:ext uri="{FF2B5EF4-FFF2-40B4-BE49-F238E27FC236}">
                <a16:creationId xmlns:a16="http://schemas.microsoft.com/office/drawing/2014/main" id="{78D73267-66C6-36F1-CE22-D97AD8AE958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2139045"/>
            <a:ext cx="4495800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E15CB2-9C62-EE41-E83E-C52358F2C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6D1A1E-E7AD-DB37-BB99-A16868A0D39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905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216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blique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92D8C27-FC60-8881-4D1A-A4226BC4FD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Content Placeholder 22">
            <a:extLst>
              <a:ext uri="{FF2B5EF4-FFF2-40B4-BE49-F238E27FC236}">
                <a16:creationId xmlns:a16="http://schemas.microsoft.com/office/drawing/2014/main" id="{78D73267-66C6-36F1-CE22-D97AD8AE958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2139045"/>
            <a:ext cx="4495800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5BDA1A-ACC3-56FE-04AB-668904B6F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48F1D4-E656-0AF4-81C5-2C1D4E93D11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82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216" userDrawn="1">
          <p15:clr>
            <a:srgbClr val="FBAE40"/>
          </p15:clr>
        </p15:guide>
        <p15:guide id="4" orient="horz" pos="134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263986A-D667-DCBA-72A8-AA5739CE2F9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418546" cy="6858000"/>
          </a:xfrm>
          <a:custGeom>
            <a:avLst/>
            <a:gdLst>
              <a:gd name="connsiteX0" fmla="*/ 0 w 7418546"/>
              <a:gd name="connsiteY0" fmla="*/ 0 h 6858000"/>
              <a:gd name="connsiteX1" fmla="*/ 4784851 w 7418546"/>
              <a:gd name="connsiteY1" fmla="*/ 0 h 6858000"/>
              <a:gd name="connsiteX2" fmla="*/ 7418546 w 7418546"/>
              <a:gd name="connsiteY2" fmla="*/ 6858000 h 6858000"/>
              <a:gd name="connsiteX3" fmla="*/ 0 w 74185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6" h="6858000">
                <a:moveTo>
                  <a:pt x="0" y="0"/>
                </a:moveTo>
                <a:lnTo>
                  <a:pt x="4784851" y="0"/>
                </a:lnTo>
                <a:lnTo>
                  <a:pt x="741854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755174E-7CD9-BC5A-0DF4-F983898B59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3456" y="0"/>
            <a:ext cx="7418544" cy="6858000"/>
          </a:xfrm>
          <a:custGeom>
            <a:avLst/>
            <a:gdLst>
              <a:gd name="connsiteX0" fmla="*/ 0 w 7418544"/>
              <a:gd name="connsiteY0" fmla="*/ 0 h 6858000"/>
              <a:gd name="connsiteX1" fmla="*/ 7418544 w 7418544"/>
              <a:gd name="connsiteY1" fmla="*/ 0 h 6858000"/>
              <a:gd name="connsiteX2" fmla="*/ 7418544 w 7418544"/>
              <a:gd name="connsiteY2" fmla="*/ 6858000 h 6858000"/>
              <a:gd name="connsiteX3" fmla="*/ 2633694 w 741854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4" h="6858000">
                <a:moveTo>
                  <a:pt x="0" y="0"/>
                </a:moveTo>
                <a:lnTo>
                  <a:pt x="7418544" y="0"/>
                </a:lnTo>
                <a:lnTo>
                  <a:pt x="7418544" y="6858000"/>
                </a:lnTo>
                <a:lnTo>
                  <a:pt x="2633694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26493"/>
            <a:ext cx="10972800" cy="1605013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292827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263986A-D667-DCBA-72A8-AA5739CE2F9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418546" cy="6858000"/>
          </a:xfrm>
          <a:custGeom>
            <a:avLst/>
            <a:gdLst>
              <a:gd name="connsiteX0" fmla="*/ 0 w 7418546"/>
              <a:gd name="connsiteY0" fmla="*/ 0 h 6858000"/>
              <a:gd name="connsiteX1" fmla="*/ 4784851 w 7418546"/>
              <a:gd name="connsiteY1" fmla="*/ 0 h 6858000"/>
              <a:gd name="connsiteX2" fmla="*/ 7418546 w 7418546"/>
              <a:gd name="connsiteY2" fmla="*/ 6858000 h 6858000"/>
              <a:gd name="connsiteX3" fmla="*/ 0 w 74185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6" h="6858000">
                <a:moveTo>
                  <a:pt x="0" y="0"/>
                </a:moveTo>
                <a:lnTo>
                  <a:pt x="4784851" y="0"/>
                </a:lnTo>
                <a:lnTo>
                  <a:pt x="741854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755174E-7CD9-BC5A-0DF4-F983898B59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3456" y="0"/>
            <a:ext cx="7418544" cy="6858000"/>
          </a:xfrm>
          <a:custGeom>
            <a:avLst/>
            <a:gdLst>
              <a:gd name="connsiteX0" fmla="*/ 0 w 7418544"/>
              <a:gd name="connsiteY0" fmla="*/ 0 h 6858000"/>
              <a:gd name="connsiteX1" fmla="*/ 7418544 w 7418544"/>
              <a:gd name="connsiteY1" fmla="*/ 0 h 6858000"/>
              <a:gd name="connsiteX2" fmla="*/ 7418544 w 7418544"/>
              <a:gd name="connsiteY2" fmla="*/ 6858000 h 6858000"/>
              <a:gd name="connsiteX3" fmla="*/ 2633694 w 741854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4" h="6858000">
                <a:moveTo>
                  <a:pt x="0" y="0"/>
                </a:moveTo>
                <a:lnTo>
                  <a:pt x="7418544" y="0"/>
                </a:lnTo>
                <a:lnTo>
                  <a:pt x="7418544" y="6858000"/>
                </a:lnTo>
                <a:lnTo>
                  <a:pt x="2633694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40" y="2194560"/>
            <a:ext cx="3017520" cy="2468880"/>
          </a:xfrm>
          <a:solidFill>
            <a:schemeClr val="accent1"/>
          </a:solidFill>
        </p:spPr>
        <p:txBody>
          <a:bodyPr lIns="274320" tIns="274320" rIns="274320" bIns="274320" anchor="ctr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01554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4463EA8-AFF5-EBDD-08F0-8EF3C73A20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58434-985D-C982-48E5-9125D2981B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7464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25B5094-C528-820B-F3BE-73DE1049AB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10A72-B024-2B8E-AEB9-FF2CC4ED34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1654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64A3354-38CB-6FBD-F943-8429122AF8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49908-DB1F-A501-13D8-15E2A24F19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1355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83319E-1AD0-792F-55B7-334705A42D7F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5" name="Graphic 4">
              <a:extLst>
                <a:ext uri="{FF2B5EF4-FFF2-40B4-BE49-F238E27FC236}">
                  <a16:creationId xmlns:a16="http://schemas.microsoft.com/office/drawing/2014/main" id="{E35BA6B7-A4E3-A5E9-982B-EF092278B750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C04E5D6-E064-BC74-7676-E7575B9DC094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E701110-90B2-E625-7998-782FBC96DDC7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41BFB99-A102-6533-1DE1-0A7B572E905B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040A28B-535E-3487-09DC-905BB4BA2266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29C6C27-0182-7B62-350C-0A4C4F0CAAD0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10AE1F-EE64-9DA2-BA03-0957F491B514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78119BF-49D9-A4E0-3D01-82964CEE4700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18FE484-0529-EE55-BB40-3E445D3CFFD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C511F6E-5D8E-0A03-5304-FB0CD8FBEF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56396F8-865E-660C-2379-462ECAD43D6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994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accent3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9E8250A-50E4-0E9B-A46F-46176C4D7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65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  <p15:guide id="3" orient="horz" pos="184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83319E-1AD0-792F-55B7-334705A42D7F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5" name="Graphic 4">
              <a:extLst>
                <a:ext uri="{FF2B5EF4-FFF2-40B4-BE49-F238E27FC236}">
                  <a16:creationId xmlns:a16="http://schemas.microsoft.com/office/drawing/2014/main" id="{E35BA6B7-A4E3-A5E9-982B-EF092278B750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C04E5D6-E064-BC74-7676-E7575B9DC094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E701110-90B2-E625-7998-782FBC96DDC7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41BFB99-A102-6533-1DE1-0A7B572E905B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040A28B-535E-3487-09DC-905BB4BA2266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29C6C27-0182-7B62-350C-0A4C4F0CAAD0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10AE1F-EE64-9DA2-BA03-0957F491B514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78119BF-49D9-A4E0-3D01-82964CEE4700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18FE484-0529-EE55-BB40-3E445D3CFFD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ACF405-97D1-79A5-F48D-398B0F52F7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92ED16B-1D53-8BEB-26C3-8271F2C2CE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54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5C2B3D-836A-97EC-4CB9-AEA5EC8A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046E87-12BA-07D2-51D0-CAC0C429EF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4092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EFEE7ED-8D19-7C7A-3A42-77252DB91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1600201"/>
            <a:ext cx="10972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A3C6CAA-95BD-0D31-4896-113634BDE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1EE883A-E224-1BFC-9507-F5F0E8842B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E33BEE-C455-5BD8-5753-EBACAA7AE6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912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5C0162-E76B-9B57-83F4-B42B840BAE8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600201"/>
            <a:ext cx="5257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2B9882-1384-7222-6B57-836A0C09112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24601" y="1600201"/>
            <a:ext cx="5257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EC6A4C9-81DC-3C11-C417-9014A43B8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4C327F7-D309-A2B5-788F-A064BF299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52C62-BBC1-330E-41A9-B66568CF81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5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84" userDrawn="1">
          <p15:clr>
            <a:srgbClr val="FBAE40"/>
          </p15:clr>
        </p15:guide>
        <p15:guide id="3" pos="369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55732CA-9957-5716-E780-C6167D07B3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910C5B-EA20-C925-519A-4B5CB3BACD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73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84" userDrawn="1">
          <p15:clr>
            <a:srgbClr val="FBAE40"/>
          </p15:clr>
        </p15:guide>
        <p15:guide id="3" pos="2496" userDrawn="1">
          <p15:clr>
            <a:srgbClr val="FBAE40"/>
          </p15:clr>
        </p15:guide>
        <p15:guide id="4" pos="4896" userDrawn="1">
          <p15:clr>
            <a:srgbClr val="FBAE40"/>
          </p15:clr>
        </p15:guide>
        <p15:guide id="5" pos="5184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E43CFC45-725D-D5F8-5717-8AD1E8C1C13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C32C540-8F68-CC4B-51F3-F47F006708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F361E6-A1AD-EF74-03FD-2FFCDABED59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894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 userDrawn="1">
          <p15:clr>
            <a:srgbClr val="FBAE40"/>
          </p15:clr>
        </p15:guide>
        <p15:guide id="3" pos="1896" userDrawn="1">
          <p15:clr>
            <a:srgbClr val="FBAE40"/>
          </p15:clr>
        </p15:guide>
        <p15:guide id="4" pos="5496" userDrawn="1">
          <p15:clr>
            <a:srgbClr val="FBAE40"/>
          </p15:clr>
        </p15:guide>
        <p15:guide id="5" pos="5784" userDrawn="1">
          <p15:clr>
            <a:srgbClr val="FBAE40"/>
          </p15:clr>
        </p15:guide>
        <p15:guide id="6" pos="3984" userDrawn="1">
          <p15:clr>
            <a:srgbClr val="FBAE40"/>
          </p15:clr>
        </p15:guide>
        <p15:guide id="7" pos="3696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1"/>
                </a:solidFill>
              </a:rPr>
              <a:t>hoeghlng.com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D5E689B-A5A1-A412-6350-EF8086382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621DC8-EC04-A5C8-521A-C4C94F4B1E3A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7C4751-8D1F-37AE-170F-17B661E98823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E06A545-82AB-1132-9184-B91D0690587B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accent2"/>
                </a:solidFill>
              </a:rPr>
              <a:t>Höegh</a:t>
            </a:r>
            <a:r>
              <a:rPr lang="en-US" sz="1000">
                <a:solidFill>
                  <a:schemeClr val="accent2"/>
                </a:solidFill>
              </a:rPr>
              <a:t> LNG AS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 err="1">
                <a:solidFill>
                  <a:schemeClr val="accent2"/>
                </a:solidFill>
              </a:rPr>
              <a:t>Dramm</a:t>
            </a:r>
            <a:r>
              <a:rPr lang="en-US" sz="1000">
                <a:solidFill>
                  <a:schemeClr val="accent2"/>
                </a:solidFill>
              </a:rPr>
              <a:t>​​​</a:t>
            </a:r>
            <a:r>
              <a:rPr lang="en-US" sz="1000" err="1">
                <a:solidFill>
                  <a:schemeClr val="accent2"/>
                </a:solidFill>
              </a:rPr>
              <a:t>ensveien</a:t>
            </a:r>
            <a:r>
              <a:rPr lang="en-US" sz="1000">
                <a:solidFill>
                  <a:schemeClr val="accent2"/>
                </a:solidFill>
              </a:rPr>
              <a:t> 134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0277 Oslo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2507504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1"/>
                </a:solidFill>
              </a:rPr>
              <a:t>hoeghlng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2CE844-EB3C-12B9-0C78-95E3296B5208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591FD7C-889F-BA00-2538-4CAE8EB155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C726A5-FBAD-92EF-F88A-BB93C1BC463D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1032C1B-3C84-3451-5D85-468576AF25E9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accent2"/>
                </a:solidFill>
              </a:rPr>
              <a:t>Höegh</a:t>
            </a:r>
            <a:r>
              <a:rPr lang="en-US" sz="1000">
                <a:solidFill>
                  <a:schemeClr val="accent2"/>
                </a:solidFill>
              </a:rPr>
              <a:t> LNG AS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 err="1">
                <a:solidFill>
                  <a:schemeClr val="accent2"/>
                </a:solidFill>
              </a:rPr>
              <a:t>Dramm</a:t>
            </a:r>
            <a:r>
              <a:rPr lang="en-US" sz="1000">
                <a:solidFill>
                  <a:schemeClr val="accent2"/>
                </a:solidFill>
              </a:rPr>
              <a:t>​​​</a:t>
            </a:r>
            <a:r>
              <a:rPr lang="en-US" sz="1000" err="1">
                <a:solidFill>
                  <a:schemeClr val="accent2"/>
                </a:solidFill>
              </a:rPr>
              <a:t>ensveien</a:t>
            </a:r>
            <a:r>
              <a:rPr lang="en-US" sz="1000">
                <a:solidFill>
                  <a:schemeClr val="accent2"/>
                </a:solidFill>
              </a:rPr>
              <a:t> 134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0277 Oslo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1699554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5"/>
                </a:solidFill>
              </a:rPr>
              <a:t>hoeghlng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2CE844-EB3C-12B9-0C78-95E3296B5208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591FD7C-889F-BA00-2538-4CAE8EB155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52EE9A-603E-5FCA-4A2F-E552F9FB50FE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267E03B6-021B-47B9-9A08-39EBAEB64963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AS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 err="1">
                <a:solidFill>
                  <a:schemeClr val="bg1"/>
                </a:solidFill>
              </a:rPr>
              <a:t>Dramm</a:t>
            </a:r>
            <a:r>
              <a:rPr lang="en-US" sz="1000">
                <a:solidFill>
                  <a:schemeClr val="bg1"/>
                </a:solidFill>
              </a:rPr>
              <a:t>​​​</a:t>
            </a:r>
            <a:r>
              <a:rPr lang="en-US" sz="1000" err="1">
                <a:solidFill>
                  <a:schemeClr val="bg1"/>
                </a:solidFill>
              </a:rPr>
              <a:t>ensveien</a:t>
            </a:r>
            <a:r>
              <a:rPr lang="en-US" sz="1000">
                <a:solidFill>
                  <a:schemeClr val="bg1"/>
                </a:solidFill>
              </a:rPr>
              <a:t> 134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0277 Oslo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184473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066AED-78F3-4168-8662-9236A181610C}" type="slidenum">
              <a:rPr lang="nb-NO" smtClean="0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627427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accent3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99EAF9B-CBB4-2571-3EB0-5DC24673B9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359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  <p15:guide id="3" orient="horz" pos="184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D042B12-5D5E-F989-E511-BD6777B251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01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>
          <p15:clr>
            <a:srgbClr val="FBAE40"/>
          </p15:clr>
        </p15:guide>
        <p15:guide id="2" orient="horz" pos="184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tx2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3711FE9-B775-5EB3-A7A3-ACC0D03EEF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131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>
          <p15:clr>
            <a:srgbClr val="FBAE40"/>
          </p15:clr>
        </p15:guide>
        <p15:guide id="3" orient="horz" pos="184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accent3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A9E8250A-50E4-0E9B-A46F-46176C4D77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918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>
          <p15:clr>
            <a:srgbClr val="FBAE40"/>
          </p15:clr>
        </p15:guide>
        <p15:guide id="3" orient="horz" pos="184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" y="2933700"/>
            <a:ext cx="3886200" cy="2254250"/>
          </a:xfrm>
        </p:spPr>
        <p:txBody>
          <a:bodyPr anchor="t">
            <a:noAutofit/>
          </a:bodyPr>
          <a:lstStyle>
            <a:lvl1pPr algn="l">
              <a:defRPr sz="4400"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" y="5187950"/>
            <a:ext cx="3886200" cy="869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>
              <a:buNone/>
              <a:defRPr lang="en-US" sz="1800" noProof="0" dirty="0">
                <a:solidFill>
                  <a:schemeClr val="accent3"/>
                </a:solidFill>
                <a:latin typeface="+mj-lt"/>
              </a:defRPr>
            </a:lvl1pPr>
          </a:lstStyle>
          <a:p>
            <a:pPr marL="179388" lvl="0" indent="-179388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AB48EB-78D8-A2D7-CFD2-8081498CB5B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00500" y="2"/>
            <a:ext cx="8191500" cy="6857999"/>
          </a:xfrm>
          <a:custGeom>
            <a:avLst/>
            <a:gdLst>
              <a:gd name="connsiteX0" fmla="*/ 0 w 8191500"/>
              <a:gd name="connsiteY0" fmla="*/ 0 h 6857999"/>
              <a:gd name="connsiteX1" fmla="*/ 8191500 w 8191500"/>
              <a:gd name="connsiteY1" fmla="*/ 0 h 6857999"/>
              <a:gd name="connsiteX2" fmla="*/ 8191500 w 8191500"/>
              <a:gd name="connsiteY2" fmla="*/ 6857999 h 6857999"/>
              <a:gd name="connsiteX3" fmla="*/ 2633695 w 8191500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91500" h="6857999">
                <a:moveTo>
                  <a:pt x="0" y="0"/>
                </a:moveTo>
                <a:lnTo>
                  <a:pt x="8191500" y="0"/>
                </a:lnTo>
                <a:lnTo>
                  <a:pt x="8191500" y="6857999"/>
                </a:lnTo>
                <a:lnTo>
                  <a:pt x="2633695" y="68579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99EAF9B-CBB4-2571-3EB0-5DC24673B9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4"/>
            <a:ext cx="1235242" cy="76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151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>
          <p15:clr>
            <a:srgbClr val="FBAE40"/>
          </p15:clr>
        </p15:guide>
        <p15:guide id="3" orient="horz" pos="184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2763"/>
            <a:ext cx="6072963" cy="66505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C5E31C-A6ED-7C77-6853-705474BFACD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35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58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2763"/>
            <a:ext cx="6072963" cy="66505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6844EF6-2C6E-640B-C69F-FA14B9DDB61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049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>
          <p15:clr>
            <a:srgbClr val="FBAE40"/>
          </p15:clr>
        </p15:guide>
        <p15:guide id="4" orient="horz" pos="158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1371"/>
            <a:ext cx="6072963" cy="66645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6A91C7B-ED5C-DA26-E868-D67A8269360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16" name="Graphic 4">
              <a:extLst>
                <a:ext uri="{FF2B5EF4-FFF2-40B4-BE49-F238E27FC236}">
                  <a16:creationId xmlns:a16="http://schemas.microsoft.com/office/drawing/2014/main" id="{C9A2D8E3-C00E-5B92-7201-F9C177EC72A6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CD535E7-C76B-D2DF-1ED4-E29539D541EC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E6D90A2-B83B-6A08-96C8-13A0A390FF8B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E18E4B-BEC7-C860-CBCA-0B08605869D6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C2C83EC-56EA-3BC4-2433-0328F7D38AD1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D4D237C-2C85-1BA3-210A-7C5580706A28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1FE2449-A16E-EDC4-C2E8-7C89AAC760B3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F6A69C-2CC7-B2E7-5878-CBCA71765B71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D1A9DB3-9EA7-1F67-5AB3-C8A78E26BF58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F9B0395-E949-4A84-6869-BF7108E8D0D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520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>
          <p15:clr>
            <a:srgbClr val="FBAE40"/>
          </p15:clr>
        </p15:guide>
        <p15:guide id="4" orient="horz" pos="158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1371"/>
            <a:ext cx="6072963" cy="66645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814B95-A1A6-EAA1-4D3A-6C88A0DB7A74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16" name="Graphic 4">
              <a:extLst>
                <a:ext uri="{FF2B5EF4-FFF2-40B4-BE49-F238E27FC236}">
                  <a16:creationId xmlns:a16="http://schemas.microsoft.com/office/drawing/2014/main" id="{5CD16FCB-6554-712F-A382-1B7A2753B048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FFBDAF8-4051-267E-D1DB-D546215B876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97339FFE-023A-3EFB-B572-73CA6F0E7121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C9D5A-8FE5-5DD4-D740-57D5F14692D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E87289-85D2-37FF-C052-3DAFE43C2CC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BDBE279-06C6-0C19-B0B5-57CF56FC93FF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31BCC26-5134-CBA2-F934-E7DECB535597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37561D7-D32B-E5B7-AC5A-32093E5D941A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84C660-32A1-D093-C11E-452F167BAFA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01B13EFB-E908-0942-16DD-1645C78CCE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5658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>
          <p15:clr>
            <a:srgbClr val="FBAE40"/>
          </p15:clr>
        </p15:guide>
        <p15:guide id="4" orient="horz" pos="158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EFEE7ED-8D19-7C7A-3A42-77252DB91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1600201"/>
            <a:ext cx="10972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A3C6CAA-95BD-0D31-4896-113634BDE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E53A627-03A1-A454-8158-435082D35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3C9014-9B8B-2F00-E8AD-F50283FD49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0623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5C0162-E76B-9B57-83F4-B42B840BAE8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600201"/>
            <a:ext cx="5257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2B9882-1384-7222-6B57-836A0C09112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24601" y="1600201"/>
            <a:ext cx="5257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EC6A4C9-81DC-3C11-C417-9014A43B8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B7711B-54B1-FB27-63AB-6BB3BD8199E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D300A43-8DC0-7CED-1FD6-F4825ECFA5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791143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84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2763"/>
            <a:ext cx="6072963" cy="66505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C5E31C-A6ED-7C77-6853-705474BFACD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72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584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DA850E5-CBDB-4728-A7E5-28A3AAA32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5257800" cy="4952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D110BA2-9C55-4CC2-8D36-F06CB538D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4602" y="1600201"/>
            <a:ext cx="5257798" cy="4952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C5AA2FCA-EF1D-4A44-BD72-79B4B40CF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74C6B169-E39B-44AE-C3B7-B3F396F4AD0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2095500"/>
            <a:ext cx="5257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9A3E938D-B570-7E2D-CCB3-ED940BB45A5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4601" y="2095500"/>
            <a:ext cx="5257799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2F633D-2B41-FE0F-E32A-EC666FD5E9D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E511E4E-6F06-D973-73A0-706DA96588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20355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  <p15:guide id="3" orient="horz" pos="132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1600200"/>
            <a:ext cx="33528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A8622D-008C-F773-7A53-BDB8AFDE97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CD10496F-4417-7940-D4FF-40D32D0025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50978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84">
          <p15:clr>
            <a:srgbClr val="FBAE40"/>
          </p15:clr>
        </p15:guide>
        <p15:guide id="3" pos="2496">
          <p15:clr>
            <a:srgbClr val="FBAE40"/>
          </p15:clr>
        </p15:guide>
        <p15:guide id="4" pos="4896">
          <p15:clr>
            <a:srgbClr val="FBAE40"/>
          </p15:clr>
        </p15:guide>
        <p15:guide id="5" pos="518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DA850E5-CBDB-4728-A7E5-28A3AAA32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00200"/>
            <a:ext cx="33527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D110BA2-9C55-4CC2-8D36-F06CB538D1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9600" y="1600200"/>
            <a:ext cx="3352800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C5AA2FCA-EF1D-4A44-BD72-79B4B40CFD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Plassholder for tekst 4">
            <a:extLst>
              <a:ext uri="{FF2B5EF4-FFF2-40B4-BE49-F238E27FC236}">
                <a16:creationId xmlns:a16="http://schemas.microsoft.com/office/drawing/2014/main" id="{52B2F606-CA41-4079-A7B3-B4A9957D7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19600" y="1600201"/>
            <a:ext cx="33527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B783E8B4-B35F-6760-5B60-7741D5469AE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EDFB443-23CB-E975-FF76-E6CB8F75027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9270BC3-717B-E7E0-A5A3-C691CBE97D9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2095501"/>
            <a:ext cx="3352800" cy="396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DBBE8FA-AFB4-9F91-68E9-DC924A2460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EC91F6-A8BF-6B85-7391-802E0080E32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700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84">
          <p15:clr>
            <a:srgbClr val="FBAE40"/>
          </p15:clr>
        </p15:guide>
        <p15:guide id="2" pos="4896">
          <p15:clr>
            <a:srgbClr val="FBAE40"/>
          </p15:clr>
        </p15:guide>
        <p15:guide id="3" orient="horz" pos="1320">
          <p15:clr>
            <a:srgbClr val="FBAE40"/>
          </p15:clr>
        </p15:guide>
        <p15:guide id="4" pos="5184">
          <p15:clr>
            <a:srgbClr val="FBAE40"/>
          </p15:clr>
        </p15:guide>
        <p15:guide id="5" pos="249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C0795957-7880-8C68-BC7B-2BF33CFB774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1600200"/>
            <a:ext cx="24003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BE30280B-ECDF-DD51-8C77-766B866A8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DAB1D3-F53A-F546-89B2-36CEAFA76AC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825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>
          <p15:clr>
            <a:srgbClr val="FBAE40"/>
          </p15:clr>
        </p15:guide>
        <p15:guide id="3" pos="1896">
          <p15:clr>
            <a:srgbClr val="FBAE40"/>
          </p15:clr>
        </p15:guide>
        <p15:guide id="4" pos="5784">
          <p15:clr>
            <a:srgbClr val="FBAE40"/>
          </p15:clr>
        </p15:guide>
        <p15:guide id="5" pos="5496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C0795957-7880-8C68-BC7B-2BF33CFB774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2095500"/>
            <a:ext cx="2400300" cy="39624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0EF37783-351E-1B71-591B-A8455C930D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CAED7E9A-1480-1690-353A-304B25D23CF7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34671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35E242E-D949-873F-C028-BFA8ED759544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63246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A1B347C1-9E60-7915-779F-5914A137192B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9182100" y="1600200"/>
            <a:ext cx="2400299" cy="4953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9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en-US" noProof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D2FD23-38F8-C198-41AB-B50617E275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18D234D-5B55-0358-5A4E-374BD1FA3A0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120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>
          <p15:clr>
            <a:srgbClr val="FBAE40"/>
          </p15:clr>
        </p15:guide>
        <p15:guide id="3" pos="1896">
          <p15:clr>
            <a:srgbClr val="FBAE40"/>
          </p15:clr>
        </p15:guide>
        <p15:guide id="4" pos="5784">
          <p15:clr>
            <a:srgbClr val="FBAE40"/>
          </p15:clr>
        </p15:guide>
        <p15:guide id="5" pos="5496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8" orient="horz" pos="13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5991225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EA12DDD3-FCAB-48CF-AF3B-71977638F4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56474" y="0"/>
            <a:ext cx="4835525" cy="6057900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CE5003-8528-DA91-51BE-DE782E57B2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600200"/>
            <a:ext cx="5991225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E3742649-C254-E371-6150-839C9A67B1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9708CD-3B2C-3697-4F84-C4D2F3991E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361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34">
          <p15:clr>
            <a:srgbClr val="FBAE40"/>
          </p15:clr>
        </p15:guide>
        <p15:guide id="3" pos="415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nfobox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5991225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2CE5003-8528-DA91-51BE-DE782E57B2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600" y="1600200"/>
            <a:ext cx="5991225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9140A60-6536-8706-A063-8E46184A4EF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356476" y="1"/>
            <a:ext cx="4835524" cy="6057900"/>
          </a:xfrm>
          <a:solidFill>
            <a:schemeClr val="bg2"/>
          </a:solidFill>
        </p:spPr>
        <p:txBody>
          <a:bodyPr lIns="274320" tIns="548640" rIns="594360" bIns="2743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DBD7558-3596-5117-E6C8-004A126C61A7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12" name="Graphic 4">
              <a:extLst>
                <a:ext uri="{FF2B5EF4-FFF2-40B4-BE49-F238E27FC236}">
                  <a16:creationId xmlns:a16="http://schemas.microsoft.com/office/drawing/2014/main" id="{461DC0E7-5909-7C47-2A21-44B758531DDB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3D0DEA27-B6D5-9FA4-2C57-0FF2A75CDE93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6D8180DB-6FF3-F283-40DD-110023633DC0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97F28860-52E1-868A-52EF-DB137F7CB61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AA9D6C2-85F9-EC18-74FF-38C8A3E8231E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152A18C-2A23-25F2-5E17-9E3E1D787C8B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FAA60BA-8200-7FDE-BAD7-E72E5366FBF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FA9EBFA-943A-F3EB-3B95-D72FFD77BE4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A349F1A-2D90-8954-345A-56C634248DDB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9F4E016-2631-5D97-C87B-7F2D846CCE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FFD15CB-0D3A-61E3-0847-889CDEC8AAA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707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634">
          <p15:clr>
            <a:srgbClr val="FBAE40"/>
          </p15:clr>
        </p15:guide>
        <p15:guide id="3" pos="4158">
          <p15:clr>
            <a:srgbClr val="FBAE40"/>
          </p15:clr>
        </p15:guide>
        <p15:guide id="4" pos="501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700" y="512764"/>
            <a:ext cx="5981700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EA12DDD3-FCAB-48CF-AF3B-71977638F4D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4835526" cy="6057901"/>
          </a:xfrm>
          <a:prstGeom prst="rect">
            <a:avLst/>
          </a:prstGeo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F4783-0DDC-3219-A543-B72D71FF76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00700" y="1600200"/>
            <a:ext cx="59817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F14BD44F-58DD-C3AE-F1DF-A7F3913633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289AB4-D980-AD32-C6F5-1609FA334E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844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48">
          <p15:clr>
            <a:srgbClr val="FBAE40"/>
          </p15:clr>
        </p15:guide>
        <p15:guide id="3" pos="3528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nfobox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00700" y="512764"/>
            <a:ext cx="5981700" cy="9144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45F4783-0DDC-3219-A543-B72D71FF760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00700" y="1600200"/>
            <a:ext cx="5981700" cy="44577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4ED15A61-D1C3-7E78-5C1E-42768E7E75C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176" y="1"/>
            <a:ext cx="4835524" cy="6057900"/>
          </a:xfrm>
          <a:solidFill>
            <a:schemeClr val="bg2"/>
          </a:solidFill>
        </p:spPr>
        <p:txBody>
          <a:bodyPr lIns="594360" tIns="548640" rIns="274320" bIns="2743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340E402-0D6C-D0F5-3FA4-B5F68287D4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638AE7E-BA9D-7298-523F-C51E28E5950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986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048">
          <p15:clr>
            <a:srgbClr val="FBAE40"/>
          </p15:clr>
        </p15:guide>
        <p15:guide id="3" pos="3528">
          <p15:clr>
            <a:srgbClr val="FBAE40"/>
          </p15:clr>
        </p15:guide>
        <p15:guide id="4" pos="266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with oblique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1B9F2FE-AAB7-D1DA-94EA-CA0AF70055C9}"/>
              </a:ext>
            </a:extLst>
          </p:cNvPr>
          <p:cNvSpPr/>
          <p:nvPr userDrawn="1"/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AE8AB1B-570E-EB72-EC18-578BC8F76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" y="1600200"/>
            <a:ext cx="7418545" cy="5257800"/>
          </a:xfrm>
          <a:custGeom>
            <a:avLst/>
            <a:gdLst>
              <a:gd name="connsiteX0" fmla="*/ 0 w 7418545"/>
              <a:gd name="connsiteY0" fmla="*/ 0 h 5257800"/>
              <a:gd name="connsiteX1" fmla="*/ 5399379 w 7418545"/>
              <a:gd name="connsiteY1" fmla="*/ 0 h 5257800"/>
              <a:gd name="connsiteX2" fmla="*/ 7418545 w 7418545"/>
              <a:gd name="connsiteY2" fmla="*/ 5257800 h 5257800"/>
              <a:gd name="connsiteX3" fmla="*/ 0 w 7418545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5" h="5257800">
                <a:moveTo>
                  <a:pt x="0" y="0"/>
                </a:moveTo>
                <a:lnTo>
                  <a:pt x="5399379" y="0"/>
                </a:lnTo>
                <a:lnTo>
                  <a:pt x="7418545" y="5257800"/>
                </a:lnTo>
                <a:lnTo>
                  <a:pt x="0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4048AAD-A57F-9D7C-4675-6490119FD71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8999" y="2133601"/>
            <a:ext cx="4343399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0DEA821-0287-2F34-55F7-9ED420EB29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20C68-3E8E-8CF1-5A76-66319E96CF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91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0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2763"/>
            <a:ext cx="6072963" cy="665059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6844EF6-2C6E-640B-C69F-FA14B9DDB61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293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 userDrawn="1">
          <p15:clr>
            <a:srgbClr val="FBAE40"/>
          </p15:clr>
        </p15:guide>
        <p15:guide id="4" orient="horz" pos="1584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blique picture to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AE8AB1B-570E-EB72-EC18-578BC8F76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" y="1600200"/>
            <a:ext cx="7418545" cy="5257800"/>
          </a:xfrm>
          <a:custGeom>
            <a:avLst/>
            <a:gdLst>
              <a:gd name="connsiteX0" fmla="*/ 0 w 7418545"/>
              <a:gd name="connsiteY0" fmla="*/ 0 h 5257800"/>
              <a:gd name="connsiteX1" fmla="*/ 5399379 w 7418545"/>
              <a:gd name="connsiteY1" fmla="*/ 0 h 5257800"/>
              <a:gd name="connsiteX2" fmla="*/ 7418545 w 7418545"/>
              <a:gd name="connsiteY2" fmla="*/ 5257800 h 5257800"/>
              <a:gd name="connsiteX3" fmla="*/ 0 w 7418545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5" h="5257800">
                <a:moveTo>
                  <a:pt x="0" y="0"/>
                </a:moveTo>
                <a:lnTo>
                  <a:pt x="5399379" y="0"/>
                </a:lnTo>
                <a:lnTo>
                  <a:pt x="7418545" y="5257800"/>
                </a:lnTo>
                <a:lnTo>
                  <a:pt x="0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22">
            <a:extLst>
              <a:ext uri="{FF2B5EF4-FFF2-40B4-BE49-F238E27FC236}">
                <a16:creationId xmlns:a16="http://schemas.microsoft.com/office/drawing/2014/main" id="{94048AAD-A57F-9D7C-4675-6490119FD71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38999" y="2133601"/>
            <a:ext cx="4343399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0196E870-AC3F-A2EC-42F1-0A5E315F46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FC2F37-536A-28FD-5A4D-ABB02FDF4CB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227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560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content with oblique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8A7363C-0182-3208-F323-DE7F74B9A904}"/>
              </a:ext>
            </a:extLst>
          </p:cNvPr>
          <p:cNvSpPr/>
          <p:nvPr userDrawn="1"/>
        </p:nvSpPr>
        <p:spPr>
          <a:xfrm>
            <a:off x="0" y="1600200"/>
            <a:ext cx="7418547" cy="5257800"/>
          </a:xfrm>
          <a:custGeom>
            <a:avLst/>
            <a:gdLst>
              <a:gd name="connsiteX0" fmla="*/ 0 w 7418547"/>
              <a:gd name="connsiteY0" fmla="*/ 0 h 5257800"/>
              <a:gd name="connsiteX1" fmla="*/ 5399381 w 7418547"/>
              <a:gd name="connsiteY1" fmla="*/ 0 h 5257800"/>
              <a:gd name="connsiteX2" fmla="*/ 7418547 w 7418547"/>
              <a:gd name="connsiteY2" fmla="*/ 5257800 h 5257800"/>
              <a:gd name="connsiteX3" fmla="*/ 0 w 7418547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7" h="5257800">
                <a:moveTo>
                  <a:pt x="0" y="0"/>
                </a:moveTo>
                <a:lnTo>
                  <a:pt x="5399381" y="0"/>
                </a:lnTo>
                <a:lnTo>
                  <a:pt x="7418547" y="5257800"/>
                </a:lnTo>
                <a:lnTo>
                  <a:pt x="0" y="52578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92D8C27-FC60-8881-4D1A-A4226BC4FD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Content Placeholder 22">
            <a:extLst>
              <a:ext uri="{FF2B5EF4-FFF2-40B4-BE49-F238E27FC236}">
                <a16:creationId xmlns:a16="http://schemas.microsoft.com/office/drawing/2014/main" id="{78D73267-66C6-36F1-CE22-D97AD8AE958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2139045"/>
            <a:ext cx="4495800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E15CB2-9C62-EE41-E83E-C52358F2C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6D1A1E-E7AD-DB37-BB99-A16868A0D39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900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216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oblique picture to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92D8C27-FC60-8881-4D1A-A4226BC4FD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87984" y="1600200"/>
            <a:ext cx="6804016" cy="5257800"/>
          </a:xfrm>
          <a:custGeom>
            <a:avLst/>
            <a:gdLst>
              <a:gd name="connsiteX0" fmla="*/ 0 w 6804016"/>
              <a:gd name="connsiteY0" fmla="*/ 0 h 5257800"/>
              <a:gd name="connsiteX1" fmla="*/ 6804016 w 6804016"/>
              <a:gd name="connsiteY1" fmla="*/ 0 h 5257800"/>
              <a:gd name="connsiteX2" fmla="*/ 6804016 w 6804016"/>
              <a:gd name="connsiteY2" fmla="*/ 5257800 h 5257800"/>
              <a:gd name="connsiteX3" fmla="*/ 2019166 w 6804016"/>
              <a:gd name="connsiteY3" fmla="*/ 5257800 h 5257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04016" h="5257800">
                <a:moveTo>
                  <a:pt x="0" y="0"/>
                </a:moveTo>
                <a:lnTo>
                  <a:pt x="6804016" y="0"/>
                </a:lnTo>
                <a:lnTo>
                  <a:pt x="6804016" y="5257800"/>
                </a:lnTo>
                <a:lnTo>
                  <a:pt x="2019166" y="5257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029F03-3482-B7BE-8774-55D7BFB41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4"/>
            <a:ext cx="10972800" cy="914400"/>
          </a:xfrm>
        </p:spPr>
        <p:txBody>
          <a:bodyPr/>
          <a:lstStyle/>
          <a:p>
            <a:endParaRPr lang="en-US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C7BB877-EDF1-4650-3481-A92192A765A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27" name="Graphic 4">
              <a:extLst>
                <a:ext uri="{FF2B5EF4-FFF2-40B4-BE49-F238E27FC236}">
                  <a16:creationId xmlns:a16="http://schemas.microsoft.com/office/drawing/2014/main" id="{1FC6DF27-DCD7-1769-E9DC-0501739B01A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19ED796-33E5-592C-CFA3-F64F10C64CA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64838B8-DD28-40D4-789B-972F3775F17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ACC94F1-598D-17D5-AD0E-0B217E1076F4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30DB776-F305-E93D-5F96-341997FF314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BC761C2-07ED-1F2C-414A-1B475BB59306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2503B1AE-C714-8764-711D-75894DC2E245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995D3668-5444-A446-AFA7-F29A4C72AE7C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CCDA0A3-B00A-9836-0A4F-4C319110522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Content Placeholder 22">
            <a:extLst>
              <a:ext uri="{FF2B5EF4-FFF2-40B4-BE49-F238E27FC236}">
                <a16:creationId xmlns:a16="http://schemas.microsoft.com/office/drawing/2014/main" id="{78D73267-66C6-36F1-CE22-D97AD8AE958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" y="2139045"/>
            <a:ext cx="4495800" cy="39242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D5BDA1A-ACC3-56FE-04AB-668904B6F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534670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48F1D4-E656-0AF4-81C5-2C1D4E93D11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119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216">
          <p15:clr>
            <a:srgbClr val="FBAE40"/>
          </p15:clr>
        </p15:guide>
        <p15:guide id="4" orient="horz" pos="134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263986A-D667-DCBA-72A8-AA5739CE2F9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418546" cy="6858000"/>
          </a:xfrm>
          <a:custGeom>
            <a:avLst/>
            <a:gdLst>
              <a:gd name="connsiteX0" fmla="*/ 0 w 7418546"/>
              <a:gd name="connsiteY0" fmla="*/ 0 h 6858000"/>
              <a:gd name="connsiteX1" fmla="*/ 4784851 w 7418546"/>
              <a:gd name="connsiteY1" fmla="*/ 0 h 6858000"/>
              <a:gd name="connsiteX2" fmla="*/ 7418546 w 7418546"/>
              <a:gd name="connsiteY2" fmla="*/ 6858000 h 6858000"/>
              <a:gd name="connsiteX3" fmla="*/ 0 w 74185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6" h="6858000">
                <a:moveTo>
                  <a:pt x="0" y="0"/>
                </a:moveTo>
                <a:lnTo>
                  <a:pt x="4784851" y="0"/>
                </a:lnTo>
                <a:lnTo>
                  <a:pt x="741854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755174E-7CD9-BC5A-0DF4-F983898B59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3456" y="0"/>
            <a:ext cx="7418544" cy="6858000"/>
          </a:xfrm>
          <a:custGeom>
            <a:avLst/>
            <a:gdLst>
              <a:gd name="connsiteX0" fmla="*/ 0 w 7418544"/>
              <a:gd name="connsiteY0" fmla="*/ 0 h 6858000"/>
              <a:gd name="connsiteX1" fmla="*/ 7418544 w 7418544"/>
              <a:gd name="connsiteY1" fmla="*/ 0 h 6858000"/>
              <a:gd name="connsiteX2" fmla="*/ 7418544 w 7418544"/>
              <a:gd name="connsiteY2" fmla="*/ 6858000 h 6858000"/>
              <a:gd name="connsiteX3" fmla="*/ 2633694 w 741854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4" h="6858000">
                <a:moveTo>
                  <a:pt x="0" y="0"/>
                </a:moveTo>
                <a:lnTo>
                  <a:pt x="7418544" y="0"/>
                </a:lnTo>
                <a:lnTo>
                  <a:pt x="7418544" y="6858000"/>
                </a:lnTo>
                <a:lnTo>
                  <a:pt x="2633694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626493"/>
            <a:ext cx="10972800" cy="1605013"/>
          </a:xfrm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446419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and messag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263986A-D667-DCBA-72A8-AA5739CE2F9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418546" cy="6858000"/>
          </a:xfrm>
          <a:custGeom>
            <a:avLst/>
            <a:gdLst>
              <a:gd name="connsiteX0" fmla="*/ 0 w 7418546"/>
              <a:gd name="connsiteY0" fmla="*/ 0 h 6858000"/>
              <a:gd name="connsiteX1" fmla="*/ 4784851 w 7418546"/>
              <a:gd name="connsiteY1" fmla="*/ 0 h 6858000"/>
              <a:gd name="connsiteX2" fmla="*/ 7418546 w 7418546"/>
              <a:gd name="connsiteY2" fmla="*/ 6858000 h 6858000"/>
              <a:gd name="connsiteX3" fmla="*/ 0 w 7418546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6" h="6858000">
                <a:moveTo>
                  <a:pt x="0" y="0"/>
                </a:moveTo>
                <a:lnTo>
                  <a:pt x="4784851" y="0"/>
                </a:lnTo>
                <a:lnTo>
                  <a:pt x="741854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755174E-7CD9-BC5A-0DF4-F983898B59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73456" y="0"/>
            <a:ext cx="7418544" cy="6858000"/>
          </a:xfrm>
          <a:custGeom>
            <a:avLst/>
            <a:gdLst>
              <a:gd name="connsiteX0" fmla="*/ 0 w 7418544"/>
              <a:gd name="connsiteY0" fmla="*/ 0 h 6858000"/>
              <a:gd name="connsiteX1" fmla="*/ 7418544 w 7418544"/>
              <a:gd name="connsiteY1" fmla="*/ 0 h 6858000"/>
              <a:gd name="connsiteX2" fmla="*/ 7418544 w 7418544"/>
              <a:gd name="connsiteY2" fmla="*/ 6858000 h 6858000"/>
              <a:gd name="connsiteX3" fmla="*/ 2633694 w 741854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18544" h="6858000">
                <a:moveTo>
                  <a:pt x="0" y="0"/>
                </a:moveTo>
                <a:lnTo>
                  <a:pt x="7418544" y="0"/>
                </a:lnTo>
                <a:lnTo>
                  <a:pt x="7418544" y="6858000"/>
                </a:lnTo>
                <a:lnTo>
                  <a:pt x="2633694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240" y="2194560"/>
            <a:ext cx="3017520" cy="2468880"/>
          </a:xfrm>
          <a:solidFill>
            <a:schemeClr val="accent1"/>
          </a:solidFill>
        </p:spPr>
        <p:txBody>
          <a:bodyPr lIns="274320" tIns="274320" rIns="274320" bIns="274320" anchor="ctr">
            <a:normAutofit/>
          </a:bodyPr>
          <a:lstStyle>
            <a:lvl1pPr algn="ctr">
              <a:defRPr sz="2600">
                <a:solidFill>
                  <a:schemeClr val="bg1"/>
                </a:solidFill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50285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4463EA8-AFF5-EBDD-08F0-8EF3C73A20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158434-985D-C982-48E5-9125D2981B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0000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25B5094-C528-820B-F3BE-73DE1049AB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410A72-B024-2B8E-AEB9-FF2CC4ED34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06198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64A3354-38CB-6FBD-F943-8429122AF8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E49908-DB1F-A501-13D8-15E2A24F191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456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83319E-1AD0-792F-55B7-334705A42D7F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5" name="Graphic 4">
              <a:extLst>
                <a:ext uri="{FF2B5EF4-FFF2-40B4-BE49-F238E27FC236}">
                  <a16:creationId xmlns:a16="http://schemas.microsoft.com/office/drawing/2014/main" id="{E35BA6B7-A4E3-A5E9-982B-EF092278B750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C04E5D6-E064-BC74-7676-E7575B9DC094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E701110-90B2-E625-7998-782FBC96DDC7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41BFB99-A102-6533-1DE1-0A7B572E905B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040A28B-535E-3487-09DC-905BB4BA2266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29C6C27-0182-7B62-350C-0A4C4F0CAAD0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10AE1F-EE64-9DA2-BA03-0957F491B514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78119BF-49D9-A4E0-3D01-82964CEE4700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18FE484-0529-EE55-BB40-3E445D3CFFD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C511F6E-5D8E-0A03-5304-FB0CD8FBEF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56396F8-865E-660C-2379-462ECAD43D6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2737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D44A334-6E42-480E-ACBD-51F509C249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83319E-1AD0-792F-55B7-334705A42D7F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5" name="Graphic 4">
              <a:extLst>
                <a:ext uri="{FF2B5EF4-FFF2-40B4-BE49-F238E27FC236}">
                  <a16:creationId xmlns:a16="http://schemas.microsoft.com/office/drawing/2014/main" id="{E35BA6B7-A4E3-A5E9-982B-EF092278B750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C04E5D6-E064-BC74-7676-E7575B9DC094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E701110-90B2-E625-7998-782FBC96DDC7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041BFB99-A102-6533-1DE1-0A7B572E905B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E040A28B-535E-3487-09DC-905BB4BA2266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D29C6C27-0182-7B62-350C-0A4C4F0CAAD0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510AE1F-EE64-9DA2-BA03-0957F491B514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078119BF-49D9-A4E0-3D01-82964CEE4700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18FE484-0529-EE55-BB40-3E445D3CFFD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6ACF405-97D1-79A5-F48D-398B0F52F7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792ED16B-1D53-8BEB-26C3-8271F2C2CE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32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1371"/>
            <a:ext cx="6072963" cy="66645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4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6A91C7B-ED5C-DA26-E868-D67A82693603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16" name="Graphic 4">
              <a:extLst>
                <a:ext uri="{FF2B5EF4-FFF2-40B4-BE49-F238E27FC236}">
                  <a16:creationId xmlns:a16="http://schemas.microsoft.com/office/drawing/2014/main" id="{C9A2D8E3-C00E-5B92-7201-F9C177EC72A6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ECD535E7-C76B-D2DF-1ED4-E29539D541EC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E6D90A2-B83B-6A08-96C8-13A0A390FF8B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E18E4B-BEC7-C860-CBCA-0B08605869D6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C2C83EC-56EA-3BC4-2433-0328F7D38AD1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D4D237C-2C85-1BA3-210A-7C5580706A28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1FE2449-A16E-EDC4-C2E8-7C89AAC760B3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F6A69C-2CC7-B2E7-5878-CBCA71765B71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D1A9DB3-9EA7-1F67-5AB3-C8A78E26BF58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F9B0395-E949-4A84-6869-BF7108E8D0D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50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 userDrawn="1">
          <p15:clr>
            <a:srgbClr val="FBAE40"/>
          </p15:clr>
        </p15:guide>
        <p15:guide id="4" orient="horz" pos="1584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F5C2B3D-836A-97EC-4CB9-AEA5EC8A6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046E87-12BA-07D2-51D0-CAC0C429EFC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2019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EFEE7ED-8D19-7C7A-3A42-77252DB91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1600201"/>
            <a:ext cx="10972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A3C6CAA-95BD-0D31-4896-113634BDE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11EE883A-E224-1BFC-9507-F5F0E8842B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E33BEE-C455-5BD8-5753-EBACAA7AE6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0313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5C0162-E76B-9B57-83F4-B42B840BAE8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09600" y="1600201"/>
            <a:ext cx="5257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E2B9882-1384-7222-6B57-836A0C09112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24601" y="1600201"/>
            <a:ext cx="5257800" cy="44577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4EC6A4C9-81DC-3C11-C417-9014A43B8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4C327F7-D309-A2B5-788F-A064BF299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8252C62-BBC1-330E-41A9-B66568CF818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529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84">
          <p15:clr>
            <a:srgbClr val="FBAE40"/>
          </p15:clr>
        </p15:guide>
        <p15:guide id="3" pos="369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hree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41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229600" y="1600200"/>
            <a:ext cx="33528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C55732CA-9957-5716-E780-C6167D07B3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910C5B-EA20-C925-519A-4B5CB3BACD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49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84">
          <p15:clr>
            <a:srgbClr val="FBAE40"/>
          </p15:clr>
        </p15:guide>
        <p15:guide id="3" pos="2496">
          <p15:clr>
            <a:srgbClr val="FBAE40"/>
          </p15:clr>
        </p15:guide>
        <p15:guide id="4" pos="4896">
          <p15:clr>
            <a:srgbClr val="FBAE40"/>
          </p15:clr>
        </p15:guide>
        <p15:guide id="5" pos="518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our columns - appendix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7">
            <a:extLst>
              <a:ext uri="{FF2B5EF4-FFF2-40B4-BE49-F238E27FC236}">
                <a16:creationId xmlns:a16="http://schemas.microsoft.com/office/drawing/2014/main" id="{FA23ED00-5208-4BD0-967F-A916314F23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0EE165D2-0209-68EF-D59F-FB2975B65A3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096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14">
            <a:extLst>
              <a:ext uri="{FF2B5EF4-FFF2-40B4-BE49-F238E27FC236}">
                <a16:creationId xmlns:a16="http://schemas.microsoft.com/office/drawing/2014/main" id="{73DB2596-15D9-9020-2FC3-46596A02A19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4671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6">
            <a:extLst>
              <a:ext uri="{FF2B5EF4-FFF2-40B4-BE49-F238E27FC236}">
                <a16:creationId xmlns:a16="http://schemas.microsoft.com/office/drawing/2014/main" id="{AE8AD556-F585-F35D-4839-ACCB9D1542E6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821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6">
            <a:extLst>
              <a:ext uri="{FF2B5EF4-FFF2-40B4-BE49-F238E27FC236}">
                <a16:creationId xmlns:a16="http://schemas.microsoft.com/office/drawing/2014/main" id="{E43CFC45-725D-D5F8-5717-8AD1E8C1C13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24600" y="1600200"/>
            <a:ext cx="2400300" cy="4457701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1C32C540-8F68-CC4B-51F3-F47F006708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F361E6-A1AD-EF74-03FD-2FFCDABED59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032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184">
          <p15:clr>
            <a:srgbClr val="FBAE40"/>
          </p15:clr>
        </p15:guide>
        <p15:guide id="3" pos="1896">
          <p15:clr>
            <a:srgbClr val="FBAE40"/>
          </p15:clr>
        </p15:guide>
        <p15:guide id="4" pos="5496">
          <p15:clr>
            <a:srgbClr val="FBAE40"/>
          </p15:clr>
        </p15:guide>
        <p15:guide id="5" pos="5784">
          <p15:clr>
            <a:srgbClr val="FBAE40"/>
          </p15:clr>
        </p15:guide>
        <p15:guide id="6" pos="3984">
          <p15:clr>
            <a:srgbClr val="FBAE40"/>
          </p15:clr>
        </p15:guide>
        <p15:guide id="7" pos="369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1"/>
                </a:solidFill>
              </a:rPr>
              <a:t>hoeghlng.com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D5E689B-A5A1-A412-6350-EF8086382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621DC8-EC04-A5C8-521A-C4C94F4B1E3A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37C4751-8D1F-37AE-170F-17B661E98823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F7F5F410-E501-E1FD-F1C9-F3EC26FB2050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accent2"/>
                </a:solidFill>
              </a:rPr>
              <a:t>Höegh</a:t>
            </a:r>
            <a:r>
              <a:rPr lang="en-US" sz="1000">
                <a:solidFill>
                  <a:schemeClr val="accent2"/>
                </a:solidFill>
              </a:rPr>
              <a:t> LNG AS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 err="1">
                <a:solidFill>
                  <a:schemeClr val="accent2"/>
                </a:solidFill>
              </a:rPr>
              <a:t>Dramm</a:t>
            </a:r>
            <a:r>
              <a:rPr lang="en-US" sz="1000">
                <a:solidFill>
                  <a:schemeClr val="accent2"/>
                </a:solidFill>
              </a:rPr>
              <a:t>​​​</a:t>
            </a:r>
            <a:r>
              <a:rPr lang="en-US" sz="1000" err="1">
                <a:solidFill>
                  <a:schemeClr val="accent2"/>
                </a:solidFill>
              </a:rPr>
              <a:t>ensveien</a:t>
            </a:r>
            <a:r>
              <a:rPr lang="en-US" sz="1000">
                <a:solidFill>
                  <a:schemeClr val="accent2"/>
                </a:solidFill>
              </a:rPr>
              <a:t> 134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0277 Oslo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402715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1"/>
                </a:solidFill>
              </a:rPr>
              <a:t>hoeghlng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2CE844-EB3C-12B9-0C78-95E3296B5208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591FD7C-889F-BA00-2538-4CAE8EB155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FC726A5-FBAD-92EF-F88A-BB93C1BC463D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tx2"/>
                </a:solidFill>
              </a:rPr>
              <a:t>Höegh</a:t>
            </a:r>
            <a:r>
              <a:rPr lang="en-US" sz="1000">
                <a:solidFill>
                  <a:schemeClr val="tx2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81F0D329-67C5-0A3A-479A-D06E8F3D336A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accent2"/>
                </a:solidFill>
              </a:rPr>
              <a:t>Höegh</a:t>
            </a:r>
            <a:r>
              <a:rPr lang="en-US" sz="1000">
                <a:solidFill>
                  <a:schemeClr val="accent2"/>
                </a:solidFill>
              </a:rPr>
              <a:t> LNG AS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 err="1">
                <a:solidFill>
                  <a:schemeClr val="accent2"/>
                </a:solidFill>
              </a:rPr>
              <a:t>Dramm</a:t>
            </a:r>
            <a:r>
              <a:rPr lang="en-US" sz="1000">
                <a:solidFill>
                  <a:schemeClr val="accent2"/>
                </a:solidFill>
              </a:rPr>
              <a:t>​​​</a:t>
            </a:r>
            <a:r>
              <a:rPr lang="en-US" sz="1000" err="1">
                <a:solidFill>
                  <a:schemeClr val="accent2"/>
                </a:solidFill>
              </a:rPr>
              <a:t>ensveien</a:t>
            </a:r>
            <a:r>
              <a:rPr lang="en-US" sz="1000">
                <a:solidFill>
                  <a:schemeClr val="accent2"/>
                </a:solidFill>
              </a:rPr>
              <a:t> 134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0277 Oslo</a:t>
            </a:r>
            <a:br>
              <a:rPr lang="en-US" sz="1000">
                <a:solidFill>
                  <a:schemeClr val="accent2"/>
                </a:solidFill>
              </a:rPr>
            </a:br>
            <a:r>
              <a:rPr lang="en-US" sz="1000">
                <a:solidFill>
                  <a:schemeClr val="accent2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2295039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kstSylinder 27">
            <a:extLst>
              <a:ext uri="{FF2B5EF4-FFF2-40B4-BE49-F238E27FC236}">
                <a16:creationId xmlns:a16="http://schemas.microsoft.com/office/drawing/2014/main" id="{BB055DBA-0A5C-4176-B57F-9C1D537F4591}"/>
              </a:ext>
            </a:extLst>
          </p:cNvPr>
          <p:cNvSpPr txBox="1"/>
          <p:nvPr userDrawn="1"/>
        </p:nvSpPr>
        <p:spPr>
          <a:xfrm>
            <a:off x="609600" y="5789523"/>
            <a:ext cx="2705244" cy="230277"/>
          </a:xfrm>
          <a:prstGeom prst="rect">
            <a:avLst/>
          </a:prstGeom>
          <a:noFill/>
        </p:spPr>
        <p:txBody>
          <a:bodyPr wrap="none" lIns="0" tIns="0" rIns="0" bIns="0" rtlCol="0" anchor="b">
            <a:noAutofit/>
          </a:bodyPr>
          <a:lstStyle/>
          <a:p>
            <a:pPr algn="l"/>
            <a:r>
              <a:rPr lang="en-US" sz="1200" b="0" noProof="0">
                <a:solidFill>
                  <a:schemeClr val="accent5"/>
                </a:solidFill>
              </a:rPr>
              <a:t>hoeghlng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2CE844-EB3C-12B9-0C78-95E3296B5208}"/>
              </a:ext>
            </a:extLst>
          </p:cNvPr>
          <p:cNvCxnSpPr>
            <a:cxnSpLocks/>
          </p:cNvCxnSpPr>
          <p:nvPr userDrawn="1"/>
        </p:nvCxnSpPr>
        <p:spPr>
          <a:xfrm>
            <a:off x="609600" y="6067425"/>
            <a:ext cx="1031875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591FD7C-889F-BA00-2538-4CAE8EB155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512763"/>
            <a:ext cx="1079500" cy="66659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52EE9A-603E-5FCA-4A2F-E552F9FB50FE}"/>
              </a:ext>
            </a:extLst>
          </p:cNvPr>
          <p:cNvSpPr txBox="1">
            <a:spLocks/>
          </p:cNvSpPr>
          <p:nvPr userDrawn="1"/>
        </p:nvSpPr>
        <p:spPr>
          <a:xfrm>
            <a:off x="609600" y="1600200"/>
            <a:ext cx="5486400" cy="176953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is a leading innovator, owner and operator of floating LNG import terminals (FSRUs) and LNG carriers. The company’s vision is accelerating countries to energy security and transition. Owned by Larus Holding Limited, a 50/50 joint venture between Leif </a:t>
            </a:r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&amp; Co. Ltd. and Funds managed by Morgan Stanley Infrastructure Partners, the group employs approximately 900 employees at sea and onshore. </a:t>
            </a:r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is present in Norway, Germany, Lithuania, United Kingdom, the USA, Singapore, Indonesia, Egypt, Colombia, Brazil and the Philippines. 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09617A3A-532E-9007-05DD-37EDB93C7502}"/>
              </a:ext>
            </a:extLst>
          </p:cNvPr>
          <p:cNvSpPr txBox="1">
            <a:spLocks/>
          </p:cNvSpPr>
          <p:nvPr userDrawn="1"/>
        </p:nvSpPr>
        <p:spPr>
          <a:xfrm>
            <a:off x="609600" y="3841749"/>
            <a:ext cx="3054350" cy="169545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600"/>
              </a:spcBef>
              <a:buClrTx/>
              <a:buSzPct val="100000"/>
              <a:buFont typeface="Wingdings" panose="05000000000000000000" pitchFamily="2" charset="2"/>
              <a:buNone/>
              <a:defRPr lang="en-US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8938" indent="-17938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100000"/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1500" indent="-168275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SzPct val="8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/>
            <a:r>
              <a:rPr lang="en-US" sz="1000" err="1">
                <a:solidFill>
                  <a:schemeClr val="bg1"/>
                </a:solidFill>
              </a:rPr>
              <a:t>Höegh</a:t>
            </a:r>
            <a:r>
              <a:rPr lang="en-US" sz="1000">
                <a:solidFill>
                  <a:schemeClr val="bg1"/>
                </a:solidFill>
              </a:rPr>
              <a:t> LNG AS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 err="1">
                <a:solidFill>
                  <a:schemeClr val="bg1"/>
                </a:solidFill>
              </a:rPr>
              <a:t>Dramm</a:t>
            </a:r>
            <a:r>
              <a:rPr lang="en-US" sz="1000">
                <a:solidFill>
                  <a:schemeClr val="bg1"/>
                </a:solidFill>
              </a:rPr>
              <a:t>​​​</a:t>
            </a:r>
            <a:r>
              <a:rPr lang="en-US" sz="1000" err="1">
                <a:solidFill>
                  <a:schemeClr val="bg1"/>
                </a:solidFill>
              </a:rPr>
              <a:t>ensveien</a:t>
            </a:r>
            <a:r>
              <a:rPr lang="en-US" sz="1000">
                <a:solidFill>
                  <a:schemeClr val="bg1"/>
                </a:solidFill>
              </a:rPr>
              <a:t> 134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0277 Oslo</a:t>
            </a:r>
            <a:br>
              <a:rPr lang="en-US" sz="1000">
                <a:solidFill>
                  <a:schemeClr val="bg1"/>
                </a:solidFill>
              </a:rPr>
            </a:br>
            <a:r>
              <a:rPr lang="en-US" sz="1000">
                <a:solidFill>
                  <a:schemeClr val="bg1"/>
                </a:solidFill>
              </a:rPr>
              <a:t>Norway</a:t>
            </a:r>
          </a:p>
        </p:txBody>
      </p:sp>
    </p:spTree>
    <p:extLst>
      <p:ext uri="{BB962C8B-B14F-4D97-AF65-F5344CB8AC3E}">
        <p14:creationId xmlns:p14="http://schemas.microsoft.com/office/powerpoint/2010/main" val="457325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tittel 2">
            <a:extLst>
              <a:ext uri="{FF2B5EF4-FFF2-40B4-BE49-F238E27FC236}">
                <a16:creationId xmlns:a16="http://schemas.microsoft.com/office/drawing/2014/main" id="{3F0D3446-E9A1-4133-9C6C-B05A369AA6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1371"/>
            <a:ext cx="6072963" cy="666451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1800">
                <a:solidFill>
                  <a:schemeClr val="accent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BA786B2-2257-46F0-9AA5-66C4342D4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11333" y="2514600"/>
            <a:ext cx="5571067" cy="2700671"/>
          </a:xfrm>
        </p:spPr>
        <p:txBody>
          <a:bodyPr anchor="t">
            <a:noAutofit/>
          </a:bodyPr>
          <a:lstStyle>
            <a:lvl1pPr algn="r">
              <a:defRPr sz="4000">
                <a:solidFill>
                  <a:schemeClr val="accent5"/>
                </a:solidFill>
              </a:defRPr>
            </a:lvl1pPr>
          </a:lstStyle>
          <a:p>
            <a:endParaRPr lang="en-US" noProof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8814B95-A1A6-EAA1-4D3A-6C88A0DB7A74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16" name="Graphic 4">
              <a:extLst>
                <a:ext uri="{FF2B5EF4-FFF2-40B4-BE49-F238E27FC236}">
                  <a16:creationId xmlns:a16="http://schemas.microsoft.com/office/drawing/2014/main" id="{5CD16FCB-6554-712F-A382-1B7A2753B048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8FFBDAF8-4051-267E-D1DB-D546215B8767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97339FFE-023A-3EFB-B572-73CA6F0E7121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EDC9D5A-8FE5-5DD4-D740-57D5F14692D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E87289-85D2-37FF-C052-3DAFE43C2CC3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BDBE279-06C6-0C19-B0B5-57CF56FC93FF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31BCC26-5134-CBA2-F934-E7DECB535597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37561D7-D32B-E5B7-AC5A-32093E5D941A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F84C660-32A1-D093-C11E-452F167BAFAC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01B13EFB-E908-0942-16DD-1645C78CCE8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600200"/>
            <a:ext cx="6634884" cy="5257798"/>
          </a:xfrm>
          <a:custGeom>
            <a:avLst/>
            <a:gdLst>
              <a:gd name="connsiteX0" fmla="*/ 0 w 6634884"/>
              <a:gd name="connsiteY0" fmla="*/ 0 h 5257798"/>
              <a:gd name="connsiteX1" fmla="*/ 4615719 w 6634884"/>
              <a:gd name="connsiteY1" fmla="*/ 0 h 5257798"/>
              <a:gd name="connsiteX2" fmla="*/ 6634884 w 6634884"/>
              <a:gd name="connsiteY2" fmla="*/ 5257798 h 5257798"/>
              <a:gd name="connsiteX3" fmla="*/ 0 w 6634884"/>
              <a:gd name="connsiteY3" fmla="*/ 5257798 h 5257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34884" h="5257798">
                <a:moveTo>
                  <a:pt x="0" y="0"/>
                </a:moveTo>
                <a:lnTo>
                  <a:pt x="4615719" y="0"/>
                </a:lnTo>
                <a:lnTo>
                  <a:pt x="6634884" y="5257798"/>
                </a:lnTo>
                <a:lnTo>
                  <a:pt x="0" y="52577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45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16" userDrawn="1">
          <p15:clr>
            <a:srgbClr val="FBAE40"/>
          </p15:clr>
        </p15:guide>
        <p15:guide id="4" orient="horz" pos="15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EFEE7ED-8D19-7C7A-3A42-77252DB91F3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600" y="1600201"/>
            <a:ext cx="10972800" cy="4457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A3C6CAA-95BD-0D31-4896-113634BDE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1E53A627-03A1-A454-8158-435082D35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55700" y="6359525"/>
            <a:ext cx="8083550" cy="320674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accent1"/>
                </a:solidFill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nb-NO" noProof="0"/>
              <a:t>Sourc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3C9014-9B8B-2F00-E8AD-F50283FD49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image" Target="../media/image7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49A5E2C6-4A35-483B-8AD7-668259F94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3"/>
            <a:ext cx="10972800" cy="909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31763A0-E93F-46A5-B024-E3C348560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359524"/>
            <a:ext cx="546099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875837-AD00-8C36-F388-7724745B7A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4577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8D1FF4-5127-E52E-DE13-77D52DCCF6BA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10" name="Graphic 4">
              <a:extLst>
                <a:ext uri="{FF2B5EF4-FFF2-40B4-BE49-F238E27FC236}">
                  <a16:creationId xmlns:a16="http://schemas.microsoft.com/office/drawing/2014/main" id="{716007B4-433D-A994-E0D0-1BF2741A3D0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A0D63DB-3F64-F703-7AF4-7F8C32CB0A75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C31AE2D-7EED-7171-3CE3-3944F8666E3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FE9BFF-70A9-B8F0-5CE6-4E5ABC3FF470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4CF9B16-3B18-E60B-D850-1B91B3344387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CB408C-3B4D-BC6B-7136-ACD9D15A9569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2DAE110-E197-1935-6D8D-E3221D0D7C9A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0DD869C-335A-361F-FAEC-EB2243FD80C6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0DA082-A73E-56E2-42C1-0EC0C82AA174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165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87" r:id="rId2"/>
    <p:sldLayoutId id="2147483688" r:id="rId3"/>
    <p:sldLayoutId id="2147483699" r:id="rId4"/>
    <p:sldLayoutId id="2147483679" r:id="rId5"/>
    <p:sldLayoutId id="2147483689" r:id="rId6"/>
    <p:sldLayoutId id="2147483690" r:id="rId7"/>
    <p:sldLayoutId id="2147483698" r:id="rId8"/>
    <p:sldLayoutId id="2147483650" r:id="rId9"/>
    <p:sldLayoutId id="2147483652" r:id="rId10"/>
    <p:sldLayoutId id="2147483653" r:id="rId11"/>
    <p:sldLayoutId id="2147483664" r:id="rId12"/>
    <p:sldLayoutId id="2147483665" r:id="rId13"/>
    <p:sldLayoutId id="2147483710" r:id="rId14"/>
    <p:sldLayoutId id="2147483711" r:id="rId15"/>
    <p:sldLayoutId id="2147483669" r:id="rId16"/>
    <p:sldLayoutId id="2147483708" r:id="rId17"/>
    <p:sldLayoutId id="2147483670" r:id="rId18"/>
    <p:sldLayoutId id="2147483709" r:id="rId19"/>
    <p:sldLayoutId id="2147483703" r:id="rId20"/>
    <p:sldLayoutId id="2147483712" r:id="rId21"/>
    <p:sldLayoutId id="2147483704" r:id="rId22"/>
    <p:sldLayoutId id="2147483713" r:id="rId23"/>
    <p:sldLayoutId id="2147483702" r:id="rId24"/>
    <p:sldLayoutId id="2147483707" r:id="rId25"/>
    <p:sldLayoutId id="2147483654" r:id="rId26"/>
    <p:sldLayoutId id="2147483697" r:id="rId27"/>
    <p:sldLayoutId id="2147483678" r:id="rId28"/>
    <p:sldLayoutId id="2147483705" r:id="rId29"/>
    <p:sldLayoutId id="2147483706" r:id="rId30"/>
    <p:sldLayoutId id="2147483655" r:id="rId31"/>
    <p:sldLayoutId id="2147483694" r:id="rId32"/>
    <p:sldLayoutId id="2147483695" r:id="rId33"/>
    <p:sldLayoutId id="2147483696" r:id="rId34"/>
    <p:sldLayoutId id="2147483714" r:id="rId35"/>
    <p:sldLayoutId id="2147483662" r:id="rId36"/>
    <p:sldLayoutId id="2147483676" r:id="rId37"/>
    <p:sldLayoutId id="2147483693" r:id="rId38"/>
    <p:sldLayoutId id="2147483758" r:id="rId3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1600"/>
        </a:spcBef>
        <a:buClrTx/>
        <a:buSzPct val="100000"/>
        <a:buFont typeface="Wingdings" panose="05000000000000000000" pitchFamily="2" charset="2"/>
        <a:buChar char="§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88938" indent="-179388" algn="l" defTabSz="914400" rtl="0" eaLnBrk="1" latinLnBrk="0" hangingPunct="1">
        <a:lnSpc>
          <a:spcPct val="100000"/>
        </a:lnSpc>
        <a:spcBef>
          <a:spcPts val="800"/>
        </a:spcBef>
        <a:buSzPct val="100000"/>
        <a:buFont typeface="Arial" panose="020B0604020202020204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orient="horz" pos="323" userDrawn="1">
          <p15:clr>
            <a:srgbClr val="F26B43"/>
          </p15:clr>
        </p15:guide>
        <p15:guide id="4" orient="horz" pos="1008" userDrawn="1">
          <p15:clr>
            <a:srgbClr val="F26B43"/>
          </p15:clr>
        </p15:guide>
        <p15:guide id="5" orient="horz" pos="3816" userDrawn="1">
          <p15:clr>
            <a:srgbClr val="F26B43"/>
          </p15:clr>
        </p15:guide>
        <p15:guide id="6" orient="horz" pos="400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4E3F7D8-52F1-4673-8BC2-DEB0F368A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753690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84" imgH="486" progId="TCLayout.ActiveDocument.1">
                  <p:embed/>
                </p:oleObj>
              </mc:Choice>
              <mc:Fallback>
                <p:oleObj name="think-cell Slide" r:id="rId41" imgW="484" imgH="4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4E3F7D8-52F1-4673-8BC2-DEB0F368A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49A5E2C6-4A35-483B-8AD7-668259F94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2763"/>
            <a:ext cx="10972800" cy="9096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31763A0-E93F-46A5-B024-E3C348560B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601" y="6359524"/>
            <a:ext cx="546099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D1FC3475-BB14-440F-9412-3F771349E4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875837-AD00-8C36-F388-7724745B7A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4577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C8D1FF4-5127-E52E-DE13-77D52DCCF6BA}"/>
              </a:ext>
            </a:extLst>
          </p:cNvPr>
          <p:cNvGrpSpPr/>
          <p:nvPr userDrawn="1"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</p:grpSpPr>
        <p:grpSp>
          <p:nvGrpSpPr>
            <p:cNvPr id="10" name="Graphic 4">
              <a:extLst>
                <a:ext uri="{FF2B5EF4-FFF2-40B4-BE49-F238E27FC236}">
                  <a16:creationId xmlns:a16="http://schemas.microsoft.com/office/drawing/2014/main" id="{716007B4-433D-A994-E0D0-1BF2741A3D0F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solidFill>
              <a:srgbClr val="44618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4A0D63DB-3F64-F703-7AF4-7F8C32CB0A75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EC31AE2D-7EED-7171-3CE3-3944F8666E39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solidFill>
                <a:srgbClr val="446181"/>
              </a:solidFill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2FE9BFF-70A9-B8F0-5CE6-4E5ABC3FF470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4CF9B16-3B18-E60B-D850-1B91B3344387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CB408C-3B4D-BC6B-7136-ACD9D15A9569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2DAE110-E197-1935-6D8D-E3221D0D7C9A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0DD869C-335A-361F-FAEC-EB2243FD80C6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80DA082-A73E-56E2-42C1-0EC0C82AA174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solidFill>
              <a:srgbClr val="446181"/>
            </a:solidFill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55275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  <p:sldLayoutId id="2147483750" r:id="rId31"/>
    <p:sldLayoutId id="2147483751" r:id="rId32"/>
    <p:sldLayoutId id="2147483752" r:id="rId33"/>
    <p:sldLayoutId id="2147483753" r:id="rId34"/>
    <p:sldLayoutId id="2147483754" r:id="rId35"/>
    <p:sldLayoutId id="2147483755" r:id="rId36"/>
    <p:sldLayoutId id="2147483756" r:id="rId37"/>
    <p:sldLayoutId id="2147483757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1600"/>
        </a:spcBef>
        <a:buClrTx/>
        <a:buSzPct val="100000"/>
        <a:buFont typeface="Wingdings" panose="05000000000000000000" pitchFamily="2" charset="2"/>
        <a:buChar char="§"/>
        <a:defRPr sz="16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388938" indent="-179388" algn="l" defTabSz="914400" rtl="0" eaLnBrk="1" latinLnBrk="0" hangingPunct="1">
        <a:lnSpc>
          <a:spcPct val="100000"/>
        </a:lnSpc>
        <a:spcBef>
          <a:spcPts val="800"/>
        </a:spcBef>
        <a:buSzPct val="100000"/>
        <a:buFont typeface="Arial" panose="020B0604020202020204" pitchFamily="34" charset="0"/>
        <a:buChar char="‒"/>
        <a:defRPr sz="1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1500" indent="-168275" algn="l" defTabSz="914400" rtl="0" eaLnBrk="1" latinLnBrk="0" hangingPunct="1">
        <a:lnSpc>
          <a:spcPct val="100000"/>
        </a:lnSpc>
        <a:spcBef>
          <a:spcPts val="800"/>
        </a:spcBef>
        <a:buSzPct val="80000"/>
        <a:buFont typeface="Arial" panose="020B0604020202020204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">
          <p15:clr>
            <a:srgbClr val="F26B43"/>
          </p15:clr>
        </p15:guide>
        <p15:guide id="2" pos="7296">
          <p15:clr>
            <a:srgbClr val="F26B43"/>
          </p15:clr>
        </p15:guide>
        <p15:guide id="3" orient="horz" pos="323">
          <p15:clr>
            <a:srgbClr val="F26B43"/>
          </p15:clr>
        </p15:guide>
        <p15:guide id="4" orient="horz" pos="1008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0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.xml"/><Relationship Id="rId6" Type="http://schemas.openxmlformats.org/officeDocument/2006/relationships/chart" Target="../charts/chart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icture containing boat&#10;&#10;Description automatically generated">
            <a:extLst>
              <a:ext uri="{FF2B5EF4-FFF2-40B4-BE49-F238E27FC236}">
                <a16:creationId xmlns:a16="http://schemas.microsoft.com/office/drawing/2014/main" id="{16676EB9-504B-2FB9-FDF1-4D929D79BC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7" r="26615"/>
          <a:stretch/>
        </p:blipFill>
        <p:spPr>
          <a:xfrm>
            <a:off x="4184855" y="-67595"/>
            <a:ext cx="8191500" cy="6857999"/>
          </a:xfr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6637A9B-EAE3-E089-2B43-B4802580A9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6637A9B-EAE3-E089-2B43-B4802580A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5FC8C95-349A-D6AF-4745-23984B65A9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8033" y="1862889"/>
            <a:ext cx="4486840" cy="2785311"/>
          </a:xfrm>
        </p:spPr>
        <p:txBody>
          <a:bodyPr vert="horz"/>
          <a:lstStyle/>
          <a:p>
            <a:r>
              <a:rPr lang="nb-N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10</a:t>
            </a:r>
            <a:r>
              <a:rPr lang="nb-NO" sz="3600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</a:t>
            </a:r>
            <a:r>
              <a:rPr lang="nb-N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City </a:t>
            </a:r>
            <a:r>
              <a:rPr lang="nb-NO" sz="3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f</a:t>
            </a:r>
            <a:r>
              <a:rPr lang="nb-N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London </a:t>
            </a:r>
            <a:r>
              <a:rPr lang="nb-NO" sz="36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iennial</a:t>
            </a:r>
            <a:r>
              <a:rPr lang="nb-NO" sz="36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Meeting </a:t>
            </a:r>
            <a:br>
              <a:rPr lang="nb-NO" sz="4000" dirty="0"/>
            </a:br>
            <a:endParaRPr lang="nb-NO" sz="4000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BD4AFBD-987B-8FB7-D877-2E9B33525C3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2400" dirty="0"/>
              <a:t>12</a:t>
            </a:r>
            <a:r>
              <a:rPr lang="en-GB" sz="2400" baseline="30000" dirty="0"/>
              <a:t>th</a:t>
            </a:r>
            <a:r>
              <a:rPr lang="en-GB" sz="2400" dirty="0"/>
              <a:t> and 13</a:t>
            </a:r>
            <a:r>
              <a:rPr lang="en-GB" sz="2400" baseline="30000" dirty="0"/>
              <a:t>th</a:t>
            </a:r>
            <a:r>
              <a:rPr lang="en-GB" sz="2400" dirty="0"/>
              <a:t> June 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479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:a16="http://schemas.microsoft.com/office/drawing/2014/main" id="{0F6A23A6-EA3A-9C9E-3E01-CFAB1672AB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" y="512763"/>
            <a:ext cx="8216901" cy="665059"/>
          </a:xfrm>
        </p:spPr>
        <p:txBody>
          <a:bodyPr/>
          <a:lstStyle/>
          <a:p>
            <a:r>
              <a:rPr lang="nb-NO" sz="4800" dirty="0" err="1"/>
              <a:t>Backdrop</a:t>
            </a:r>
            <a:r>
              <a:rPr lang="nb-NO" sz="4800" dirty="0"/>
              <a:t> – Security </a:t>
            </a:r>
            <a:r>
              <a:rPr lang="nb-NO" sz="4800" dirty="0" err="1"/>
              <a:t>of</a:t>
            </a:r>
            <a:r>
              <a:rPr lang="nb-NO" sz="4800" dirty="0"/>
              <a:t> Supply</a:t>
            </a:r>
            <a:endParaRPr lang="nb-NO" sz="3200" dirty="0">
              <a:solidFill>
                <a:schemeClr val="accent1"/>
              </a:solidFill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5CBA0262-8A6F-F995-758A-A89BC3E5426D}"/>
              </a:ext>
            </a:extLst>
          </p:cNvPr>
          <p:cNvGraphicFramePr/>
          <p:nvPr/>
        </p:nvGraphicFramePr>
        <p:xfrm>
          <a:off x="6362700" y="1784350"/>
          <a:ext cx="5765799" cy="3752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Picture Placeholder 4" descr="Map&#10;&#10;Description automatically generated with medium confidence">
            <a:extLst>
              <a:ext uri="{FF2B5EF4-FFF2-40B4-BE49-F238E27FC236}">
                <a16:creationId xmlns:a16="http://schemas.microsoft.com/office/drawing/2014/main" id="{B8CE7260-0DB5-C85F-20AE-7266AC1A2354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13" r="145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00586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5CEA0DA-4EE8-349A-13BD-2BBC2E44B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E5CEA0DA-4EE8-349A-13BD-2BBC2E44B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713906B-2D47-837A-8F8F-D0000247B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ince Russian pipeline supplies collapsed, </a:t>
            </a:r>
            <a:br>
              <a:rPr lang="en-US"/>
            </a:br>
            <a:r>
              <a:rPr lang="en-US"/>
              <a:t>Europe depends on high send-out from its LNG import terminal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2155F3-23DE-49B1-9611-4B225CD0DE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br>
              <a:rPr lang="nb-NO" sz="1000"/>
            </a:br>
            <a:r>
              <a:rPr lang="nb-NO" sz="1000"/>
              <a:t>Data </a:t>
            </a:r>
            <a:r>
              <a:rPr lang="nb-NO" sz="1000" err="1"/>
              <a:t>source</a:t>
            </a:r>
            <a:r>
              <a:rPr lang="nb-NO" sz="1000"/>
              <a:t>: Rystad Energ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26A6D1-BE68-748A-4314-6404ECFB60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C3475-BB14-440F-9412-3F771349E49D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611B769-3814-1BD0-5EDC-183C101E62D2}"/>
              </a:ext>
            </a:extLst>
          </p:cNvPr>
          <p:cNvGraphicFramePr>
            <a:graphicFrameLocks/>
          </p:cNvGraphicFramePr>
          <p:nvPr/>
        </p:nvGraphicFramePr>
        <p:xfrm>
          <a:off x="609600" y="1535994"/>
          <a:ext cx="10923037" cy="4983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0666515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09381A1E-DBCE-61A8-E7C1-E975B9EE9B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424" b="11126"/>
          <a:stretch/>
        </p:blipFill>
        <p:spPr>
          <a:xfrm>
            <a:off x="-1" y="1"/>
            <a:ext cx="12177909" cy="6858000"/>
          </a:xfrm>
          <a:prstGeom prst="rect">
            <a:avLst/>
          </a:prstGeom>
        </p:spPr>
      </p:pic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2DB79A4F-D9EF-1591-82D3-9CFC548509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066AED-78F3-4168-8662-9236A181610C}" type="slidenum">
              <a:rPr lang="nb-NO" smtClean="0"/>
              <a:pPr>
                <a:defRPr/>
              </a:pPr>
              <a:t>4</a:t>
            </a:fld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2936DDDE-75AA-5162-CA14-F14A3EE4A258}"/>
              </a:ext>
            </a:extLst>
          </p:cNvPr>
          <p:cNvSpPr txBox="1"/>
          <p:nvPr/>
        </p:nvSpPr>
        <p:spPr>
          <a:xfrm>
            <a:off x="248279" y="6597502"/>
            <a:ext cx="2592891" cy="2156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27013" indent="-227013" algn="l">
              <a:buFont typeface="Wingdings" panose="05000000000000000000" pitchFamily="2" charset="2"/>
              <a:buChar char="§"/>
            </a:pPr>
            <a:r>
              <a:rPr lang="nb-NO" sz="1100" dirty="0">
                <a:solidFill>
                  <a:schemeClr val="bg1"/>
                </a:solidFill>
              </a:rPr>
              <a:t>Foto: Felix </a:t>
            </a:r>
            <a:r>
              <a:rPr lang="nb-NO" sz="1100" dirty="0" err="1">
                <a:solidFill>
                  <a:schemeClr val="bg1"/>
                </a:solidFill>
              </a:rPr>
              <a:t>Reimann</a:t>
            </a:r>
            <a:r>
              <a:rPr lang="nb-NO" sz="1100" dirty="0">
                <a:solidFill>
                  <a:schemeClr val="bg1"/>
                </a:solidFill>
              </a:rPr>
              <a:t> E24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C23D265-104E-5024-E641-713D8EBBC4AE}"/>
              </a:ext>
            </a:extLst>
          </p:cNvPr>
          <p:cNvGrpSpPr/>
          <p:nvPr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6" name="Graphic 4">
              <a:extLst>
                <a:ext uri="{FF2B5EF4-FFF2-40B4-BE49-F238E27FC236}">
                  <a16:creationId xmlns:a16="http://schemas.microsoft.com/office/drawing/2014/main" id="{568E39A6-880C-623B-430D-C5EC96168869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7522756A-ED8D-02BE-9415-3972BB84DD89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E448D698-C7D0-C1A4-4C18-5CB19FD46F55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36ADE7AF-DD70-AC4D-E279-709FFCC95FC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F80437E8-F56A-9B6B-907C-CE70A407B94D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E5CE6E8-5E89-DF03-89B2-0F4D0CF1AD4D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17C4D63-5496-50BC-7082-67ADCEB2AF97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7B43258-FABA-61EE-39C2-FB3C1DD2599F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52D8067-9743-4823-5ECF-05E18A33C104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9333122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E5CEA0DA-4EE8-349A-13BD-2BBC2E44B8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E5CEA0DA-4EE8-349A-13BD-2BBC2E44B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713906B-2D47-837A-8F8F-D0000247BF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torage inventory at high levels following mild winter:</a:t>
            </a:r>
            <a:br>
              <a:rPr lang="en-US"/>
            </a:br>
            <a:r>
              <a:rPr lang="en-US"/>
              <a:t>68.2% in Europe ex Ukraine, 74.4% in German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2155F3-23DE-49B1-9611-4B225CD0DE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Source: Rystad Energ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26A6D1-BE68-748A-4314-6404ECFB60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C3475-BB14-440F-9412-3F771349E49D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Picture 7" descr="A picture containing text, screenshot, line, plot&#10;&#10;Description automatically generated">
            <a:extLst>
              <a:ext uri="{FF2B5EF4-FFF2-40B4-BE49-F238E27FC236}">
                <a16:creationId xmlns:a16="http://schemas.microsoft.com/office/drawing/2014/main" id="{06F57B17-0FAB-FF31-4D4A-6D447392BD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94" y="2157333"/>
            <a:ext cx="5325642" cy="2777251"/>
          </a:xfrm>
          <a:prstGeom prst="rect">
            <a:avLst/>
          </a:prstGeom>
        </p:spPr>
      </p:pic>
      <p:pic>
        <p:nvPicPr>
          <p:cNvPr id="13" name="Picture 12" descr="A picture containing text, screenshot, font&#10;&#10;Description automatically generated">
            <a:extLst>
              <a:ext uri="{FF2B5EF4-FFF2-40B4-BE49-F238E27FC236}">
                <a16:creationId xmlns:a16="http://schemas.microsoft.com/office/drawing/2014/main" id="{665BD83D-BA1B-71BB-6D53-E37C5F4DDA8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266" y="2184770"/>
            <a:ext cx="5548087" cy="2777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851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1CA82FB3-7C92-78FB-BFED-903C82B8700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A8DD51B-084B-70D7-316D-E51781180A6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609601" y="6281736"/>
            <a:ext cx="546099" cy="21565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b-NO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C3475-BB14-440F-9412-3F771349E49D}" type="slidenum">
              <a:rPr lang="en-US" smtClean="0"/>
              <a:pPr/>
              <a:t>6</a:t>
            </a:fld>
            <a:endParaRPr lang="nb-NO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A2740E55-FF9E-5AC4-DD98-59BFF4CAB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71F775D-ADB7-2214-CDDB-7219D23ACC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CF2EDF39-4373-F5EC-20B1-335438C807C2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43362" name="Picture 2" descr="Nord Stream leak.">
            <a:extLst>
              <a:ext uri="{FF2B5EF4-FFF2-40B4-BE49-F238E27FC236}">
                <a16:creationId xmlns:a16="http://schemas.microsoft.com/office/drawing/2014/main" id="{CB8F81F9-C71C-31D6-5DA9-583B84765E8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313"/>
          <a:stretch/>
        </p:blipFill>
        <p:spPr bwMode="auto">
          <a:xfrm>
            <a:off x="0" y="-25400"/>
            <a:ext cx="12192000" cy="688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65407A9-9756-1708-BEE1-AD1EFD18128C}"/>
              </a:ext>
            </a:extLst>
          </p:cNvPr>
          <p:cNvGrpSpPr/>
          <p:nvPr/>
        </p:nvGrpSpPr>
        <p:grpSpPr>
          <a:xfrm>
            <a:off x="10365634" y="6315469"/>
            <a:ext cx="1216765" cy="181921"/>
            <a:chOff x="3157537" y="4364031"/>
            <a:chExt cx="5872900" cy="878071"/>
          </a:xfrm>
          <a:solidFill>
            <a:schemeClr val="bg1"/>
          </a:solidFill>
        </p:grpSpPr>
        <p:grpSp>
          <p:nvGrpSpPr>
            <p:cNvPr id="7" name="Graphic 4">
              <a:extLst>
                <a:ext uri="{FF2B5EF4-FFF2-40B4-BE49-F238E27FC236}">
                  <a16:creationId xmlns:a16="http://schemas.microsoft.com/office/drawing/2014/main" id="{C2D9F788-83A8-806A-498F-25B42346943C}"/>
                </a:ext>
              </a:extLst>
            </p:cNvPr>
            <p:cNvGrpSpPr/>
            <p:nvPr/>
          </p:nvGrpSpPr>
          <p:grpSpPr>
            <a:xfrm>
              <a:off x="3157537" y="4364031"/>
              <a:ext cx="1344495" cy="878071"/>
              <a:chOff x="3157537" y="4364031"/>
              <a:chExt cx="1344495" cy="878071"/>
            </a:xfrm>
            <a:grpFill/>
          </p:grpSpPr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FF09E9D-087B-BA37-5D75-5D862EBD4E62}"/>
                  </a:ext>
                </a:extLst>
              </p:cNvPr>
              <p:cNvSpPr/>
              <p:nvPr/>
            </p:nvSpPr>
            <p:spPr>
              <a:xfrm>
                <a:off x="3157537" y="4554352"/>
                <a:ext cx="538189" cy="668717"/>
              </a:xfrm>
              <a:custGeom>
                <a:avLst/>
                <a:gdLst>
                  <a:gd name="connsiteX0" fmla="*/ 0 w 538189"/>
                  <a:gd name="connsiteY0" fmla="*/ 668718 h 668717"/>
                  <a:gd name="connsiteX1" fmla="*/ 0 w 538189"/>
                  <a:gd name="connsiteY1" fmla="*/ 0 h 668717"/>
                  <a:gd name="connsiteX2" fmla="*/ 139625 w 538189"/>
                  <a:gd name="connsiteY2" fmla="*/ 0 h 668717"/>
                  <a:gd name="connsiteX3" fmla="*/ 139625 w 538189"/>
                  <a:gd name="connsiteY3" fmla="*/ 255047 h 668717"/>
                  <a:gd name="connsiteX4" fmla="*/ 398565 w 538189"/>
                  <a:gd name="connsiteY4" fmla="*/ 255047 h 668717"/>
                  <a:gd name="connsiteX5" fmla="*/ 398565 w 538189"/>
                  <a:gd name="connsiteY5" fmla="*/ 0 h 668717"/>
                  <a:gd name="connsiteX6" fmla="*/ 538189 w 538189"/>
                  <a:gd name="connsiteY6" fmla="*/ 0 h 668717"/>
                  <a:gd name="connsiteX7" fmla="*/ 538189 w 538189"/>
                  <a:gd name="connsiteY7" fmla="*/ 668718 h 668717"/>
                  <a:gd name="connsiteX8" fmla="*/ 398565 w 538189"/>
                  <a:gd name="connsiteY8" fmla="*/ 668718 h 668717"/>
                  <a:gd name="connsiteX9" fmla="*/ 398565 w 538189"/>
                  <a:gd name="connsiteY9" fmla="*/ 370529 h 668717"/>
                  <a:gd name="connsiteX10" fmla="*/ 139625 w 538189"/>
                  <a:gd name="connsiteY10" fmla="*/ 370529 h 668717"/>
                  <a:gd name="connsiteX11" fmla="*/ 139625 w 538189"/>
                  <a:gd name="connsiteY11" fmla="*/ 668718 h 668717"/>
                  <a:gd name="connsiteX12" fmla="*/ 0 w 538189"/>
                  <a:gd name="connsiteY12" fmla="*/ 668718 h 668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38189" h="668717">
                    <a:moveTo>
                      <a:pt x="0" y="668718"/>
                    </a:moveTo>
                    <a:lnTo>
                      <a:pt x="0" y="0"/>
                    </a:lnTo>
                    <a:lnTo>
                      <a:pt x="139625" y="0"/>
                    </a:lnTo>
                    <a:lnTo>
                      <a:pt x="139625" y="255047"/>
                    </a:lnTo>
                    <a:lnTo>
                      <a:pt x="398565" y="255047"/>
                    </a:lnTo>
                    <a:lnTo>
                      <a:pt x="398565" y="0"/>
                    </a:lnTo>
                    <a:lnTo>
                      <a:pt x="538189" y="0"/>
                    </a:lnTo>
                    <a:lnTo>
                      <a:pt x="538189" y="668718"/>
                    </a:lnTo>
                    <a:lnTo>
                      <a:pt x="398565" y="668718"/>
                    </a:lnTo>
                    <a:lnTo>
                      <a:pt x="398565" y="370529"/>
                    </a:lnTo>
                    <a:lnTo>
                      <a:pt x="139625" y="370529"/>
                    </a:lnTo>
                    <a:lnTo>
                      <a:pt x="139625" y="668718"/>
                    </a:lnTo>
                    <a:lnTo>
                      <a:pt x="0" y="668718"/>
                    </a:lnTo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5560D7E8-0B18-B5D9-688E-3D0D18208385}"/>
                  </a:ext>
                </a:extLst>
              </p:cNvPr>
              <p:cNvSpPr/>
              <p:nvPr/>
            </p:nvSpPr>
            <p:spPr>
              <a:xfrm>
                <a:off x="3861029" y="4364031"/>
                <a:ext cx="641003" cy="878071"/>
              </a:xfrm>
              <a:custGeom>
                <a:avLst/>
                <a:gdLst>
                  <a:gd name="connsiteX0" fmla="*/ 539839 w 641003"/>
                  <a:gd name="connsiteY0" fmla="*/ 800010 h 878071"/>
                  <a:gd name="connsiteX1" fmla="*/ 320718 w 641003"/>
                  <a:gd name="connsiteY1" fmla="*/ 878072 h 878071"/>
                  <a:gd name="connsiteX2" fmla="*/ 101621 w 641003"/>
                  <a:gd name="connsiteY2" fmla="*/ 800010 h 878071"/>
                  <a:gd name="connsiteX3" fmla="*/ 0 w 641003"/>
                  <a:gd name="connsiteY3" fmla="*/ 524052 h 878071"/>
                  <a:gd name="connsiteX4" fmla="*/ 101621 w 641003"/>
                  <a:gd name="connsiteY4" fmla="*/ 248068 h 878071"/>
                  <a:gd name="connsiteX5" fmla="*/ 320718 w 641003"/>
                  <a:gd name="connsiteY5" fmla="*/ 170031 h 878071"/>
                  <a:gd name="connsiteX6" fmla="*/ 539839 w 641003"/>
                  <a:gd name="connsiteY6" fmla="*/ 248068 h 878071"/>
                  <a:gd name="connsiteX7" fmla="*/ 641004 w 641003"/>
                  <a:gd name="connsiteY7" fmla="*/ 524052 h 878071"/>
                  <a:gd name="connsiteX8" fmla="*/ 539839 w 641003"/>
                  <a:gd name="connsiteY8" fmla="*/ 800010 h 878071"/>
                  <a:gd name="connsiteX9" fmla="*/ 452701 w 641003"/>
                  <a:gd name="connsiteY9" fmla="*/ 697737 h 878071"/>
                  <a:gd name="connsiteX10" fmla="*/ 501379 w 641003"/>
                  <a:gd name="connsiteY10" fmla="*/ 524064 h 878071"/>
                  <a:gd name="connsiteX11" fmla="*/ 452701 w 641003"/>
                  <a:gd name="connsiteY11" fmla="*/ 350582 h 878071"/>
                  <a:gd name="connsiteX12" fmla="*/ 321175 w 641003"/>
                  <a:gd name="connsiteY12" fmla="*/ 289320 h 878071"/>
                  <a:gd name="connsiteX13" fmla="*/ 188975 w 641003"/>
                  <a:gd name="connsiteY13" fmla="*/ 350379 h 878071"/>
                  <a:gd name="connsiteX14" fmla="*/ 139625 w 641003"/>
                  <a:gd name="connsiteY14" fmla="*/ 524052 h 878071"/>
                  <a:gd name="connsiteX15" fmla="*/ 188975 w 641003"/>
                  <a:gd name="connsiteY15" fmla="*/ 697724 h 878071"/>
                  <a:gd name="connsiteX16" fmla="*/ 321175 w 641003"/>
                  <a:gd name="connsiteY16" fmla="*/ 758784 h 878071"/>
                  <a:gd name="connsiteX17" fmla="*/ 452701 w 641003"/>
                  <a:gd name="connsiteY17" fmla="*/ 697724 h 878071"/>
                  <a:gd name="connsiteX18" fmla="*/ 170088 w 641003"/>
                  <a:gd name="connsiteY18" fmla="*/ 0 h 878071"/>
                  <a:gd name="connsiteX19" fmla="*/ 289391 w 641003"/>
                  <a:gd name="connsiteY19" fmla="*/ 0 h 878071"/>
                  <a:gd name="connsiteX20" fmla="*/ 289391 w 641003"/>
                  <a:gd name="connsiteY20" fmla="*/ 107856 h 878071"/>
                  <a:gd name="connsiteX21" fmla="*/ 170088 w 641003"/>
                  <a:gd name="connsiteY21" fmla="*/ 107856 h 878071"/>
                  <a:gd name="connsiteX22" fmla="*/ 170088 w 641003"/>
                  <a:gd name="connsiteY22" fmla="*/ 0 h 878071"/>
                  <a:gd name="connsiteX23" fmla="*/ 352869 w 641003"/>
                  <a:gd name="connsiteY23" fmla="*/ 0 h 878071"/>
                  <a:gd name="connsiteX24" fmla="*/ 472185 w 641003"/>
                  <a:gd name="connsiteY24" fmla="*/ 0 h 878071"/>
                  <a:gd name="connsiteX25" fmla="*/ 472185 w 641003"/>
                  <a:gd name="connsiteY25" fmla="*/ 107856 h 878071"/>
                  <a:gd name="connsiteX26" fmla="*/ 352869 w 641003"/>
                  <a:gd name="connsiteY26" fmla="*/ 107856 h 878071"/>
                  <a:gd name="connsiteX27" fmla="*/ 352869 w 641003"/>
                  <a:gd name="connsiteY27" fmla="*/ 0 h 8780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1003" h="878071">
                    <a:moveTo>
                      <a:pt x="539839" y="800010"/>
                    </a:moveTo>
                    <a:cubicBezTo>
                      <a:pt x="489321" y="852059"/>
                      <a:pt x="416272" y="878072"/>
                      <a:pt x="320718" y="878072"/>
                    </a:cubicBezTo>
                    <a:cubicBezTo>
                      <a:pt x="225164" y="878072"/>
                      <a:pt x="152115" y="852047"/>
                      <a:pt x="101621" y="800010"/>
                    </a:cubicBezTo>
                    <a:cubicBezTo>
                      <a:pt x="33878" y="736172"/>
                      <a:pt x="0" y="644177"/>
                      <a:pt x="0" y="524052"/>
                    </a:cubicBezTo>
                    <a:cubicBezTo>
                      <a:pt x="0" y="401527"/>
                      <a:pt x="33878" y="309533"/>
                      <a:pt x="101621" y="248068"/>
                    </a:cubicBezTo>
                    <a:cubicBezTo>
                      <a:pt x="152115" y="196044"/>
                      <a:pt x="225138" y="170031"/>
                      <a:pt x="320718" y="170031"/>
                    </a:cubicBezTo>
                    <a:cubicBezTo>
                      <a:pt x="416297" y="170031"/>
                      <a:pt x="489321" y="196056"/>
                      <a:pt x="539839" y="248068"/>
                    </a:cubicBezTo>
                    <a:cubicBezTo>
                      <a:pt x="607278" y="309533"/>
                      <a:pt x="641004" y="401527"/>
                      <a:pt x="641004" y="524052"/>
                    </a:cubicBezTo>
                    <a:cubicBezTo>
                      <a:pt x="641004" y="644177"/>
                      <a:pt x="607278" y="736172"/>
                      <a:pt x="539839" y="800010"/>
                    </a:cubicBezTo>
                    <a:moveTo>
                      <a:pt x="452701" y="697737"/>
                    </a:moveTo>
                    <a:cubicBezTo>
                      <a:pt x="485157" y="657018"/>
                      <a:pt x="501379" y="599132"/>
                      <a:pt x="501379" y="524064"/>
                    </a:cubicBezTo>
                    <a:cubicBezTo>
                      <a:pt x="501379" y="448997"/>
                      <a:pt x="485157" y="391453"/>
                      <a:pt x="452701" y="350582"/>
                    </a:cubicBezTo>
                    <a:cubicBezTo>
                      <a:pt x="420257" y="309761"/>
                      <a:pt x="376415" y="289320"/>
                      <a:pt x="321175" y="289320"/>
                    </a:cubicBezTo>
                    <a:cubicBezTo>
                      <a:pt x="265934" y="289320"/>
                      <a:pt x="221863" y="309660"/>
                      <a:pt x="188975" y="350379"/>
                    </a:cubicBezTo>
                    <a:cubicBezTo>
                      <a:pt x="156062" y="391097"/>
                      <a:pt x="139625" y="448984"/>
                      <a:pt x="139625" y="524052"/>
                    </a:cubicBezTo>
                    <a:cubicBezTo>
                      <a:pt x="139625" y="599119"/>
                      <a:pt x="156062" y="657006"/>
                      <a:pt x="188975" y="697724"/>
                    </a:cubicBezTo>
                    <a:cubicBezTo>
                      <a:pt x="221863" y="738443"/>
                      <a:pt x="265947" y="758784"/>
                      <a:pt x="321175" y="758784"/>
                    </a:cubicBezTo>
                    <a:cubicBezTo>
                      <a:pt x="376403" y="758784"/>
                      <a:pt x="420257" y="738443"/>
                      <a:pt x="452701" y="697724"/>
                    </a:cubicBezTo>
                    <a:close/>
                    <a:moveTo>
                      <a:pt x="170088" y="0"/>
                    </a:moveTo>
                    <a:lnTo>
                      <a:pt x="289391" y="0"/>
                    </a:lnTo>
                    <a:lnTo>
                      <a:pt x="289391" y="107856"/>
                    </a:lnTo>
                    <a:lnTo>
                      <a:pt x="170088" y="107856"/>
                    </a:lnTo>
                    <a:lnTo>
                      <a:pt x="170088" y="0"/>
                    </a:lnTo>
                    <a:close/>
                    <a:moveTo>
                      <a:pt x="352869" y="0"/>
                    </a:moveTo>
                    <a:lnTo>
                      <a:pt x="472185" y="0"/>
                    </a:lnTo>
                    <a:lnTo>
                      <a:pt x="472185" y="107856"/>
                    </a:lnTo>
                    <a:lnTo>
                      <a:pt x="352869" y="107856"/>
                    </a:lnTo>
                    <a:lnTo>
                      <a:pt x="352869" y="0"/>
                    </a:lnTo>
                    <a:close/>
                  </a:path>
                </a:pathLst>
              </a:custGeom>
              <a:grpFill/>
              <a:ln w="126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0308C8AA-A2D6-763B-26D9-C6E2D5F27E4A}"/>
                </a:ext>
              </a:extLst>
            </p:cNvPr>
            <p:cNvSpPr/>
            <p:nvPr/>
          </p:nvSpPr>
          <p:spPr>
            <a:xfrm>
              <a:off x="4669556" y="4554352"/>
              <a:ext cx="498840" cy="668717"/>
            </a:xfrm>
            <a:custGeom>
              <a:avLst/>
              <a:gdLst>
                <a:gd name="connsiteX0" fmla="*/ 482339 w 498840"/>
                <a:gd name="connsiteY0" fmla="*/ 119288 h 668717"/>
                <a:gd name="connsiteX1" fmla="*/ 137073 w 498840"/>
                <a:gd name="connsiteY1" fmla="*/ 119288 h 668717"/>
                <a:gd name="connsiteX2" fmla="*/ 137073 w 498840"/>
                <a:gd name="connsiteY2" fmla="*/ 260122 h 668717"/>
                <a:gd name="connsiteX3" fmla="*/ 453145 w 498840"/>
                <a:gd name="connsiteY3" fmla="*/ 260122 h 668717"/>
                <a:gd name="connsiteX4" fmla="*/ 453145 w 498840"/>
                <a:gd name="connsiteY4" fmla="*/ 375591 h 668717"/>
                <a:gd name="connsiteX5" fmla="*/ 137073 w 498840"/>
                <a:gd name="connsiteY5" fmla="*/ 375591 h 668717"/>
                <a:gd name="connsiteX6" fmla="*/ 137073 w 498840"/>
                <a:gd name="connsiteY6" fmla="*/ 549442 h 668717"/>
                <a:gd name="connsiteX7" fmla="*/ 498841 w 498840"/>
                <a:gd name="connsiteY7" fmla="*/ 549442 h 668717"/>
                <a:gd name="connsiteX8" fmla="*/ 498841 w 498840"/>
                <a:gd name="connsiteY8" fmla="*/ 668718 h 668717"/>
                <a:gd name="connsiteX9" fmla="*/ 0 w 498840"/>
                <a:gd name="connsiteY9" fmla="*/ 668718 h 668717"/>
                <a:gd name="connsiteX10" fmla="*/ 0 w 498840"/>
                <a:gd name="connsiteY10" fmla="*/ 0 h 668717"/>
                <a:gd name="connsiteX11" fmla="*/ 482339 w 498840"/>
                <a:gd name="connsiteY11" fmla="*/ 0 h 668717"/>
                <a:gd name="connsiteX12" fmla="*/ 482339 w 498840"/>
                <a:gd name="connsiteY12" fmla="*/ 11928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8840" h="668717">
                  <a:moveTo>
                    <a:pt x="482339" y="119288"/>
                  </a:moveTo>
                  <a:lnTo>
                    <a:pt x="137073" y="119288"/>
                  </a:lnTo>
                  <a:lnTo>
                    <a:pt x="137073" y="260122"/>
                  </a:lnTo>
                  <a:lnTo>
                    <a:pt x="453145" y="260122"/>
                  </a:lnTo>
                  <a:lnTo>
                    <a:pt x="453145" y="375591"/>
                  </a:lnTo>
                  <a:lnTo>
                    <a:pt x="137073" y="375591"/>
                  </a:lnTo>
                  <a:lnTo>
                    <a:pt x="137073" y="549442"/>
                  </a:lnTo>
                  <a:lnTo>
                    <a:pt x="498841" y="549442"/>
                  </a:lnTo>
                  <a:lnTo>
                    <a:pt x="498841" y="668718"/>
                  </a:lnTo>
                  <a:lnTo>
                    <a:pt x="0" y="668718"/>
                  </a:lnTo>
                  <a:lnTo>
                    <a:pt x="0" y="0"/>
                  </a:lnTo>
                  <a:lnTo>
                    <a:pt x="482339" y="0"/>
                  </a:lnTo>
                  <a:lnTo>
                    <a:pt x="482339" y="11928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DED0EE4-539E-170E-AED1-E2E38455D65C}"/>
                </a:ext>
              </a:extLst>
            </p:cNvPr>
            <p:cNvSpPr/>
            <p:nvPr/>
          </p:nvSpPr>
          <p:spPr>
            <a:xfrm>
              <a:off x="5297651" y="4537869"/>
              <a:ext cx="621963" cy="701670"/>
            </a:xfrm>
            <a:custGeom>
              <a:avLst/>
              <a:gdLst>
                <a:gd name="connsiteX0" fmla="*/ 482339 w 621963"/>
                <a:gd name="connsiteY0" fmla="*/ 225850 h 701670"/>
                <a:gd name="connsiteX1" fmla="*/ 404746 w 621963"/>
                <a:gd name="connsiteY1" fmla="*/ 130391 h 701670"/>
                <a:gd name="connsiteX2" fmla="*/ 328080 w 621963"/>
                <a:gd name="connsiteY2" fmla="*/ 115469 h 701670"/>
                <a:gd name="connsiteX3" fmla="*/ 195373 w 621963"/>
                <a:gd name="connsiteY3" fmla="*/ 176033 h 701670"/>
                <a:gd name="connsiteX4" fmla="*/ 143433 w 621963"/>
                <a:gd name="connsiteY4" fmla="*/ 358157 h 701670"/>
                <a:gd name="connsiteX5" fmla="*/ 199676 w 621963"/>
                <a:gd name="connsiteY5" fmla="*/ 531513 h 701670"/>
                <a:gd name="connsiteX6" fmla="*/ 327597 w 621963"/>
                <a:gd name="connsiteY6" fmla="*/ 582395 h 701670"/>
                <a:gd name="connsiteX7" fmla="*/ 442813 w 621963"/>
                <a:gd name="connsiteY7" fmla="*/ 542450 h 701670"/>
                <a:gd name="connsiteX8" fmla="*/ 498168 w 621963"/>
                <a:gd name="connsiteY8" fmla="*/ 437767 h 701670"/>
                <a:gd name="connsiteX9" fmla="*/ 343984 w 621963"/>
                <a:gd name="connsiteY9" fmla="*/ 437767 h 701670"/>
                <a:gd name="connsiteX10" fmla="*/ 343984 w 621963"/>
                <a:gd name="connsiteY10" fmla="*/ 326092 h 701670"/>
                <a:gd name="connsiteX11" fmla="*/ 621964 w 621963"/>
                <a:gd name="connsiteY11" fmla="*/ 326092 h 701670"/>
                <a:gd name="connsiteX12" fmla="*/ 621964 w 621963"/>
                <a:gd name="connsiteY12" fmla="*/ 685201 h 701670"/>
                <a:gd name="connsiteX13" fmla="*/ 529304 w 621963"/>
                <a:gd name="connsiteY13" fmla="*/ 685201 h 701670"/>
                <a:gd name="connsiteX14" fmla="*/ 515341 w 621963"/>
                <a:gd name="connsiteY14" fmla="*/ 601428 h 701670"/>
                <a:gd name="connsiteX15" fmla="*/ 442686 w 621963"/>
                <a:gd name="connsiteY15" fmla="*/ 667969 h 701670"/>
                <a:gd name="connsiteX16" fmla="*/ 306476 w 621963"/>
                <a:gd name="connsiteY16" fmla="*/ 701671 h 701670"/>
                <a:gd name="connsiteX17" fmla="*/ 88535 w 621963"/>
                <a:gd name="connsiteY17" fmla="*/ 609828 h 701670"/>
                <a:gd name="connsiteX18" fmla="*/ 0 w 621963"/>
                <a:gd name="connsiteY18" fmla="*/ 357395 h 701670"/>
                <a:gd name="connsiteX19" fmla="*/ 89385 w 621963"/>
                <a:gd name="connsiteY19" fmla="*/ 97717 h 701670"/>
                <a:gd name="connsiteX20" fmla="*/ 325808 w 621963"/>
                <a:gd name="connsiteY20" fmla="*/ 0 h 701670"/>
                <a:gd name="connsiteX21" fmla="*/ 530713 w 621963"/>
                <a:gd name="connsiteY21" fmla="*/ 64612 h 701670"/>
                <a:gd name="connsiteX22" fmla="*/ 619425 w 621963"/>
                <a:gd name="connsiteY22" fmla="*/ 225850 h 701670"/>
                <a:gd name="connsiteX23" fmla="*/ 482339 w 621963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63" h="701670">
                  <a:moveTo>
                    <a:pt x="482339" y="225850"/>
                  </a:moveTo>
                  <a:cubicBezTo>
                    <a:pt x="471753" y="180322"/>
                    <a:pt x="445885" y="148498"/>
                    <a:pt x="404746" y="130391"/>
                  </a:cubicBezTo>
                  <a:cubicBezTo>
                    <a:pt x="381759" y="120456"/>
                    <a:pt x="356208" y="115469"/>
                    <a:pt x="328080" y="115469"/>
                  </a:cubicBezTo>
                  <a:cubicBezTo>
                    <a:pt x="274223" y="115469"/>
                    <a:pt x="230000" y="135670"/>
                    <a:pt x="195373" y="176033"/>
                  </a:cubicBezTo>
                  <a:cubicBezTo>
                    <a:pt x="160746" y="216384"/>
                    <a:pt x="143433" y="277126"/>
                    <a:pt x="143433" y="358157"/>
                  </a:cubicBezTo>
                  <a:cubicBezTo>
                    <a:pt x="143433" y="439822"/>
                    <a:pt x="162168" y="497608"/>
                    <a:pt x="199676" y="531513"/>
                  </a:cubicBezTo>
                  <a:cubicBezTo>
                    <a:pt x="237159" y="565442"/>
                    <a:pt x="279795" y="582395"/>
                    <a:pt x="327597" y="582395"/>
                  </a:cubicBezTo>
                  <a:cubicBezTo>
                    <a:pt x="374460" y="582395"/>
                    <a:pt x="412857" y="569084"/>
                    <a:pt x="442813" y="542450"/>
                  </a:cubicBezTo>
                  <a:cubicBezTo>
                    <a:pt x="472756" y="515804"/>
                    <a:pt x="491186" y="480909"/>
                    <a:pt x="498168" y="437767"/>
                  </a:cubicBezTo>
                  <a:lnTo>
                    <a:pt x="343984" y="437767"/>
                  </a:lnTo>
                  <a:lnTo>
                    <a:pt x="343984" y="326092"/>
                  </a:lnTo>
                  <a:lnTo>
                    <a:pt x="621964" y="326092"/>
                  </a:lnTo>
                  <a:lnTo>
                    <a:pt x="621964" y="685201"/>
                  </a:lnTo>
                  <a:lnTo>
                    <a:pt x="529304" y="685201"/>
                  </a:lnTo>
                  <a:lnTo>
                    <a:pt x="515341" y="601428"/>
                  </a:lnTo>
                  <a:cubicBezTo>
                    <a:pt x="488394" y="632922"/>
                    <a:pt x="464163" y="655090"/>
                    <a:pt x="442686" y="667969"/>
                  </a:cubicBezTo>
                  <a:cubicBezTo>
                    <a:pt x="405762" y="690441"/>
                    <a:pt x="360346" y="701671"/>
                    <a:pt x="306476" y="701671"/>
                  </a:cubicBezTo>
                  <a:cubicBezTo>
                    <a:pt x="217789" y="701671"/>
                    <a:pt x="145133" y="671065"/>
                    <a:pt x="88535" y="609828"/>
                  </a:cubicBezTo>
                  <a:cubicBezTo>
                    <a:pt x="29512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804" y="0"/>
                    <a:pt x="325808" y="0"/>
                  </a:cubicBezTo>
                  <a:cubicBezTo>
                    <a:pt x="410813" y="0"/>
                    <a:pt x="479128" y="21533"/>
                    <a:pt x="530713" y="64612"/>
                  </a:cubicBezTo>
                  <a:cubicBezTo>
                    <a:pt x="582273" y="107729"/>
                    <a:pt x="611848" y="161466"/>
                    <a:pt x="619425" y="225850"/>
                  </a:cubicBezTo>
                  <a:lnTo>
                    <a:pt x="482339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63D1950-782A-6369-82E4-B2893281F3CA}"/>
                </a:ext>
              </a:extLst>
            </p:cNvPr>
            <p:cNvSpPr/>
            <p:nvPr/>
          </p:nvSpPr>
          <p:spPr>
            <a:xfrm>
              <a:off x="6098792" y="4554352"/>
              <a:ext cx="538189" cy="668717"/>
            </a:xfrm>
            <a:custGeom>
              <a:avLst/>
              <a:gdLst>
                <a:gd name="connsiteX0" fmla="*/ 0 w 538189"/>
                <a:gd name="connsiteY0" fmla="*/ 668718 h 668717"/>
                <a:gd name="connsiteX1" fmla="*/ 0 w 538189"/>
                <a:gd name="connsiteY1" fmla="*/ 0 h 668717"/>
                <a:gd name="connsiteX2" fmla="*/ 139625 w 538189"/>
                <a:gd name="connsiteY2" fmla="*/ 0 h 668717"/>
                <a:gd name="connsiteX3" fmla="*/ 139625 w 538189"/>
                <a:gd name="connsiteY3" fmla="*/ 255047 h 668717"/>
                <a:gd name="connsiteX4" fmla="*/ 398565 w 538189"/>
                <a:gd name="connsiteY4" fmla="*/ 255047 h 668717"/>
                <a:gd name="connsiteX5" fmla="*/ 398565 w 538189"/>
                <a:gd name="connsiteY5" fmla="*/ 0 h 668717"/>
                <a:gd name="connsiteX6" fmla="*/ 538189 w 538189"/>
                <a:gd name="connsiteY6" fmla="*/ 0 h 668717"/>
                <a:gd name="connsiteX7" fmla="*/ 538189 w 538189"/>
                <a:gd name="connsiteY7" fmla="*/ 668718 h 668717"/>
                <a:gd name="connsiteX8" fmla="*/ 398565 w 538189"/>
                <a:gd name="connsiteY8" fmla="*/ 668718 h 668717"/>
                <a:gd name="connsiteX9" fmla="*/ 398565 w 538189"/>
                <a:gd name="connsiteY9" fmla="*/ 370529 h 668717"/>
                <a:gd name="connsiteX10" fmla="*/ 139625 w 538189"/>
                <a:gd name="connsiteY10" fmla="*/ 370529 h 668717"/>
                <a:gd name="connsiteX11" fmla="*/ 139625 w 538189"/>
                <a:gd name="connsiteY11" fmla="*/ 668718 h 668717"/>
                <a:gd name="connsiteX12" fmla="*/ 0 w 538189"/>
                <a:gd name="connsiteY12" fmla="*/ 668718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38189" h="668717">
                  <a:moveTo>
                    <a:pt x="0" y="668718"/>
                  </a:moveTo>
                  <a:lnTo>
                    <a:pt x="0" y="0"/>
                  </a:lnTo>
                  <a:lnTo>
                    <a:pt x="139625" y="0"/>
                  </a:lnTo>
                  <a:lnTo>
                    <a:pt x="139625" y="255047"/>
                  </a:lnTo>
                  <a:lnTo>
                    <a:pt x="398565" y="255047"/>
                  </a:lnTo>
                  <a:lnTo>
                    <a:pt x="398565" y="0"/>
                  </a:lnTo>
                  <a:lnTo>
                    <a:pt x="538189" y="0"/>
                  </a:lnTo>
                  <a:lnTo>
                    <a:pt x="538189" y="668718"/>
                  </a:lnTo>
                  <a:lnTo>
                    <a:pt x="398565" y="668718"/>
                  </a:lnTo>
                  <a:lnTo>
                    <a:pt x="398565" y="370529"/>
                  </a:lnTo>
                  <a:lnTo>
                    <a:pt x="139625" y="370529"/>
                  </a:lnTo>
                  <a:lnTo>
                    <a:pt x="139625" y="668718"/>
                  </a:lnTo>
                  <a:lnTo>
                    <a:pt x="0" y="668718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8944344-271F-148F-16FE-1E88D04C5297}"/>
                </a:ext>
              </a:extLst>
            </p:cNvPr>
            <p:cNvSpPr/>
            <p:nvPr/>
          </p:nvSpPr>
          <p:spPr>
            <a:xfrm>
              <a:off x="7122125" y="4554352"/>
              <a:ext cx="472172" cy="668717"/>
            </a:xfrm>
            <a:custGeom>
              <a:avLst/>
              <a:gdLst>
                <a:gd name="connsiteX0" fmla="*/ 0 w 472172"/>
                <a:gd name="connsiteY0" fmla="*/ 0 h 668717"/>
                <a:gd name="connsiteX1" fmla="*/ 139625 w 472172"/>
                <a:gd name="connsiteY1" fmla="*/ 0 h 668717"/>
                <a:gd name="connsiteX2" fmla="*/ 139625 w 472172"/>
                <a:gd name="connsiteY2" fmla="*/ 549442 h 668717"/>
                <a:gd name="connsiteX3" fmla="*/ 472172 w 472172"/>
                <a:gd name="connsiteY3" fmla="*/ 549442 h 668717"/>
                <a:gd name="connsiteX4" fmla="*/ 472172 w 472172"/>
                <a:gd name="connsiteY4" fmla="*/ 668718 h 668717"/>
                <a:gd name="connsiteX5" fmla="*/ 0 w 472172"/>
                <a:gd name="connsiteY5" fmla="*/ 668718 h 668717"/>
                <a:gd name="connsiteX6" fmla="*/ 0 w 472172"/>
                <a:gd name="connsiteY6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2172" h="668717">
                  <a:moveTo>
                    <a:pt x="0" y="0"/>
                  </a:moveTo>
                  <a:lnTo>
                    <a:pt x="139625" y="0"/>
                  </a:lnTo>
                  <a:lnTo>
                    <a:pt x="139625" y="549442"/>
                  </a:lnTo>
                  <a:lnTo>
                    <a:pt x="472172" y="549442"/>
                  </a:lnTo>
                  <a:lnTo>
                    <a:pt x="472172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C6BA44C-A29D-1EAB-5092-74E9D86F59D9}"/>
                </a:ext>
              </a:extLst>
            </p:cNvPr>
            <p:cNvSpPr/>
            <p:nvPr/>
          </p:nvSpPr>
          <p:spPr>
            <a:xfrm>
              <a:off x="7711341" y="4554352"/>
              <a:ext cx="540727" cy="668717"/>
            </a:xfrm>
            <a:custGeom>
              <a:avLst/>
              <a:gdLst>
                <a:gd name="connsiteX0" fmla="*/ 0 w 540727"/>
                <a:gd name="connsiteY0" fmla="*/ 0 h 668717"/>
                <a:gd name="connsiteX1" fmla="*/ 145755 w 540727"/>
                <a:gd name="connsiteY1" fmla="*/ 0 h 668717"/>
                <a:gd name="connsiteX2" fmla="*/ 411245 w 540727"/>
                <a:gd name="connsiteY2" fmla="*/ 465175 h 668717"/>
                <a:gd name="connsiteX3" fmla="*/ 411245 w 540727"/>
                <a:gd name="connsiteY3" fmla="*/ 0 h 668717"/>
                <a:gd name="connsiteX4" fmla="*/ 540728 w 540727"/>
                <a:gd name="connsiteY4" fmla="*/ 0 h 668717"/>
                <a:gd name="connsiteX5" fmla="*/ 540728 w 540727"/>
                <a:gd name="connsiteY5" fmla="*/ 668718 h 668717"/>
                <a:gd name="connsiteX6" fmla="*/ 401751 w 540727"/>
                <a:gd name="connsiteY6" fmla="*/ 668718 h 668717"/>
                <a:gd name="connsiteX7" fmla="*/ 129470 w 540727"/>
                <a:gd name="connsiteY7" fmla="*/ 194254 h 668717"/>
                <a:gd name="connsiteX8" fmla="*/ 129470 w 540727"/>
                <a:gd name="connsiteY8" fmla="*/ 668718 h 668717"/>
                <a:gd name="connsiteX9" fmla="*/ 0 w 540727"/>
                <a:gd name="connsiteY9" fmla="*/ 668718 h 668717"/>
                <a:gd name="connsiteX10" fmla="*/ 0 w 540727"/>
                <a:gd name="connsiteY10" fmla="*/ 0 h 668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40727" h="668717">
                  <a:moveTo>
                    <a:pt x="0" y="0"/>
                  </a:moveTo>
                  <a:lnTo>
                    <a:pt x="145755" y="0"/>
                  </a:lnTo>
                  <a:lnTo>
                    <a:pt x="411245" y="465175"/>
                  </a:lnTo>
                  <a:lnTo>
                    <a:pt x="411245" y="0"/>
                  </a:lnTo>
                  <a:lnTo>
                    <a:pt x="540728" y="0"/>
                  </a:lnTo>
                  <a:lnTo>
                    <a:pt x="540728" y="668718"/>
                  </a:lnTo>
                  <a:lnTo>
                    <a:pt x="401751" y="668718"/>
                  </a:lnTo>
                  <a:lnTo>
                    <a:pt x="129470" y="194254"/>
                  </a:lnTo>
                  <a:lnTo>
                    <a:pt x="129470" y="668718"/>
                  </a:lnTo>
                  <a:lnTo>
                    <a:pt x="0" y="668718"/>
                  </a:lnTo>
                  <a:lnTo>
                    <a:pt x="0" y="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71DB3F7-19F7-9CCA-296B-583E9BE3C9DF}"/>
                </a:ext>
              </a:extLst>
            </p:cNvPr>
            <p:cNvSpPr/>
            <p:nvPr/>
          </p:nvSpPr>
          <p:spPr>
            <a:xfrm>
              <a:off x="8408461" y="4537869"/>
              <a:ext cx="621976" cy="701670"/>
            </a:xfrm>
            <a:custGeom>
              <a:avLst/>
              <a:gdLst>
                <a:gd name="connsiteX0" fmla="*/ 482352 w 621976"/>
                <a:gd name="connsiteY0" fmla="*/ 225850 h 701670"/>
                <a:gd name="connsiteX1" fmla="*/ 404772 w 621976"/>
                <a:gd name="connsiteY1" fmla="*/ 130391 h 701670"/>
                <a:gd name="connsiteX2" fmla="*/ 328092 w 621976"/>
                <a:gd name="connsiteY2" fmla="*/ 115469 h 701670"/>
                <a:gd name="connsiteX3" fmla="*/ 195386 w 621976"/>
                <a:gd name="connsiteY3" fmla="*/ 176033 h 701670"/>
                <a:gd name="connsiteX4" fmla="*/ 143445 w 621976"/>
                <a:gd name="connsiteY4" fmla="*/ 358157 h 701670"/>
                <a:gd name="connsiteX5" fmla="*/ 199701 w 621976"/>
                <a:gd name="connsiteY5" fmla="*/ 531513 h 701670"/>
                <a:gd name="connsiteX6" fmla="*/ 327623 w 621976"/>
                <a:gd name="connsiteY6" fmla="*/ 582395 h 701670"/>
                <a:gd name="connsiteX7" fmla="*/ 442826 w 621976"/>
                <a:gd name="connsiteY7" fmla="*/ 542450 h 701670"/>
                <a:gd name="connsiteX8" fmla="*/ 498180 w 621976"/>
                <a:gd name="connsiteY8" fmla="*/ 437767 h 701670"/>
                <a:gd name="connsiteX9" fmla="*/ 344009 w 621976"/>
                <a:gd name="connsiteY9" fmla="*/ 437767 h 701670"/>
                <a:gd name="connsiteX10" fmla="*/ 344009 w 621976"/>
                <a:gd name="connsiteY10" fmla="*/ 326092 h 701670"/>
                <a:gd name="connsiteX11" fmla="*/ 621977 w 621976"/>
                <a:gd name="connsiteY11" fmla="*/ 326092 h 701670"/>
                <a:gd name="connsiteX12" fmla="*/ 621977 w 621976"/>
                <a:gd name="connsiteY12" fmla="*/ 685201 h 701670"/>
                <a:gd name="connsiteX13" fmla="*/ 529317 w 621976"/>
                <a:gd name="connsiteY13" fmla="*/ 685201 h 701670"/>
                <a:gd name="connsiteX14" fmla="*/ 515354 w 621976"/>
                <a:gd name="connsiteY14" fmla="*/ 601428 h 701670"/>
                <a:gd name="connsiteX15" fmla="*/ 442686 w 621976"/>
                <a:gd name="connsiteY15" fmla="*/ 667969 h 701670"/>
                <a:gd name="connsiteX16" fmla="*/ 306489 w 621976"/>
                <a:gd name="connsiteY16" fmla="*/ 701671 h 701670"/>
                <a:gd name="connsiteX17" fmla="*/ 88547 w 621976"/>
                <a:gd name="connsiteY17" fmla="*/ 609828 h 701670"/>
                <a:gd name="connsiteX18" fmla="*/ 0 w 621976"/>
                <a:gd name="connsiteY18" fmla="*/ 357395 h 701670"/>
                <a:gd name="connsiteX19" fmla="*/ 89385 w 621976"/>
                <a:gd name="connsiteY19" fmla="*/ 97717 h 701670"/>
                <a:gd name="connsiteX20" fmla="*/ 325820 w 621976"/>
                <a:gd name="connsiteY20" fmla="*/ 0 h 701670"/>
                <a:gd name="connsiteX21" fmla="*/ 530713 w 621976"/>
                <a:gd name="connsiteY21" fmla="*/ 64612 h 701670"/>
                <a:gd name="connsiteX22" fmla="*/ 619412 w 621976"/>
                <a:gd name="connsiteY22" fmla="*/ 225850 h 701670"/>
                <a:gd name="connsiteX23" fmla="*/ 482327 w 621976"/>
                <a:gd name="connsiteY23" fmla="*/ 225850 h 701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21976" h="701670">
                  <a:moveTo>
                    <a:pt x="482352" y="225850"/>
                  </a:moveTo>
                  <a:cubicBezTo>
                    <a:pt x="471753" y="180322"/>
                    <a:pt x="445897" y="148498"/>
                    <a:pt x="404772" y="130391"/>
                  </a:cubicBezTo>
                  <a:cubicBezTo>
                    <a:pt x="381797" y="120456"/>
                    <a:pt x="356220" y="115469"/>
                    <a:pt x="328092" y="115469"/>
                  </a:cubicBezTo>
                  <a:cubicBezTo>
                    <a:pt x="274248" y="115469"/>
                    <a:pt x="230012" y="135670"/>
                    <a:pt x="195386" y="176033"/>
                  </a:cubicBezTo>
                  <a:cubicBezTo>
                    <a:pt x="160758" y="216384"/>
                    <a:pt x="143445" y="277126"/>
                    <a:pt x="143445" y="358157"/>
                  </a:cubicBezTo>
                  <a:cubicBezTo>
                    <a:pt x="143445" y="439822"/>
                    <a:pt x="162193" y="497608"/>
                    <a:pt x="199701" y="531513"/>
                  </a:cubicBezTo>
                  <a:cubicBezTo>
                    <a:pt x="237184" y="565442"/>
                    <a:pt x="279820" y="582395"/>
                    <a:pt x="327623" y="582395"/>
                  </a:cubicBezTo>
                  <a:cubicBezTo>
                    <a:pt x="374473" y="582395"/>
                    <a:pt x="412882" y="569084"/>
                    <a:pt x="442826" y="542450"/>
                  </a:cubicBezTo>
                  <a:cubicBezTo>
                    <a:pt x="472769" y="515804"/>
                    <a:pt x="491212" y="480909"/>
                    <a:pt x="498180" y="437767"/>
                  </a:cubicBezTo>
                  <a:lnTo>
                    <a:pt x="344009" y="437767"/>
                  </a:lnTo>
                  <a:lnTo>
                    <a:pt x="344009" y="326092"/>
                  </a:lnTo>
                  <a:lnTo>
                    <a:pt x="621977" y="326092"/>
                  </a:lnTo>
                  <a:lnTo>
                    <a:pt x="621977" y="685201"/>
                  </a:lnTo>
                  <a:lnTo>
                    <a:pt x="529317" y="685201"/>
                  </a:lnTo>
                  <a:lnTo>
                    <a:pt x="515354" y="601428"/>
                  </a:lnTo>
                  <a:cubicBezTo>
                    <a:pt x="488394" y="632922"/>
                    <a:pt x="464188" y="655090"/>
                    <a:pt x="442686" y="667969"/>
                  </a:cubicBezTo>
                  <a:cubicBezTo>
                    <a:pt x="405774" y="690441"/>
                    <a:pt x="360358" y="701671"/>
                    <a:pt x="306489" y="701671"/>
                  </a:cubicBezTo>
                  <a:cubicBezTo>
                    <a:pt x="217789" y="701671"/>
                    <a:pt x="145146" y="671065"/>
                    <a:pt x="88547" y="609828"/>
                  </a:cubicBezTo>
                  <a:cubicBezTo>
                    <a:pt x="29524" y="548313"/>
                    <a:pt x="0" y="464185"/>
                    <a:pt x="0" y="357395"/>
                  </a:cubicBezTo>
                  <a:cubicBezTo>
                    <a:pt x="0" y="249413"/>
                    <a:pt x="29791" y="162875"/>
                    <a:pt x="89385" y="97717"/>
                  </a:cubicBezTo>
                  <a:cubicBezTo>
                    <a:pt x="148979" y="32560"/>
                    <a:pt x="227791" y="0"/>
                    <a:pt x="325820" y="0"/>
                  </a:cubicBezTo>
                  <a:cubicBezTo>
                    <a:pt x="410826" y="0"/>
                    <a:pt x="479128" y="21533"/>
                    <a:pt x="530713" y="64612"/>
                  </a:cubicBezTo>
                  <a:cubicBezTo>
                    <a:pt x="582272" y="107729"/>
                    <a:pt x="611848" y="161466"/>
                    <a:pt x="619412" y="225850"/>
                  </a:cubicBezTo>
                  <a:lnTo>
                    <a:pt x="482327" y="225850"/>
                  </a:lnTo>
                </a:path>
              </a:pathLst>
            </a:custGeom>
            <a:grpFill/>
            <a:ln w="1269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430933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icture containing water, outdoor, boat&#10;&#10;Description automatically generated">
            <a:extLst>
              <a:ext uri="{FF2B5EF4-FFF2-40B4-BE49-F238E27FC236}">
                <a16:creationId xmlns:a16="http://schemas.microsoft.com/office/drawing/2014/main" id="{0B1DCE75-9894-C3E4-35D2-B244B49E68E0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" r="644"/>
          <a:stretch>
            <a:fillRect/>
          </a:stretch>
        </p:blipFill>
        <p:spPr/>
      </p:pic>
      <p:pic>
        <p:nvPicPr>
          <p:cNvPr id="6" name="Picture Placeholder 5" descr="A couple of ships in the water&#10;&#10;Description automatically generated with low confidence">
            <a:extLst>
              <a:ext uri="{FF2B5EF4-FFF2-40B4-BE49-F238E27FC236}">
                <a16:creationId xmlns:a16="http://schemas.microsoft.com/office/drawing/2014/main" id="{A356E5D4-0C73-AAFD-8BB5-87D71D59B06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11" b="1531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9368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öegh LNG">
  <a:themeElements>
    <a:clrScheme name="Hoegh LNG">
      <a:dk1>
        <a:srgbClr val="1E1E1E"/>
      </a:dk1>
      <a:lt1>
        <a:sysClr val="window" lastClr="FFFFFF"/>
      </a:lt1>
      <a:dk2>
        <a:srgbClr val="446181"/>
      </a:dk2>
      <a:lt2>
        <a:srgbClr val="EBEFF2"/>
      </a:lt2>
      <a:accent1>
        <a:srgbClr val="002940"/>
      </a:accent1>
      <a:accent2>
        <a:srgbClr val="446181"/>
      </a:accent2>
      <a:accent3>
        <a:srgbClr val="ACC5DA"/>
      </a:accent3>
      <a:accent4>
        <a:srgbClr val="EBEFF2"/>
      </a:accent4>
      <a:accent5>
        <a:srgbClr val="00DBA6"/>
      </a:accent5>
      <a:accent6>
        <a:srgbClr val="FF5000"/>
      </a:accent6>
      <a:hlink>
        <a:srgbClr val="446181"/>
      </a:hlink>
      <a:folHlink>
        <a:srgbClr val="002940"/>
      </a:folHlink>
    </a:clrScheme>
    <a:fontScheme name="Hoegh LNG">
      <a:majorFont>
        <a:latin typeface="Degula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LNG template 2023 template examples FINAL" id="{B8F335A0-FC97-44C6-A379-69B2CBC097EA}" vid="{5BBA82C6-D5B3-49FD-8602-EF24E71CF992}"/>
    </a:ext>
  </a:extLst>
</a:theme>
</file>

<file path=ppt/theme/theme2.xml><?xml version="1.0" encoding="utf-8"?>
<a:theme xmlns:a="http://schemas.openxmlformats.org/drawingml/2006/main" name="1_Höegh LNG">
  <a:themeElements>
    <a:clrScheme name="Hoegh LNG">
      <a:dk1>
        <a:srgbClr val="1E1E1E"/>
      </a:dk1>
      <a:lt1>
        <a:sysClr val="window" lastClr="FFFFFF"/>
      </a:lt1>
      <a:dk2>
        <a:srgbClr val="446181"/>
      </a:dk2>
      <a:lt2>
        <a:srgbClr val="EBEFF2"/>
      </a:lt2>
      <a:accent1>
        <a:srgbClr val="002940"/>
      </a:accent1>
      <a:accent2>
        <a:srgbClr val="446181"/>
      </a:accent2>
      <a:accent3>
        <a:srgbClr val="ACC5DA"/>
      </a:accent3>
      <a:accent4>
        <a:srgbClr val="EBEFF2"/>
      </a:accent4>
      <a:accent5>
        <a:srgbClr val="00DBA6"/>
      </a:accent5>
      <a:accent6>
        <a:srgbClr val="FF5000"/>
      </a:accent6>
      <a:hlink>
        <a:srgbClr val="446181"/>
      </a:hlink>
      <a:folHlink>
        <a:srgbClr val="002940"/>
      </a:folHlink>
    </a:clrScheme>
    <a:fontScheme name="Hoegh LNG">
      <a:majorFont>
        <a:latin typeface="Degula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accent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Magseis">
      <a:dk1>
        <a:sysClr val="windowText" lastClr="000000"/>
      </a:dk1>
      <a:lt1>
        <a:sysClr val="window" lastClr="FFFFFF"/>
      </a:lt1>
      <a:dk2>
        <a:srgbClr val="1C5A7C"/>
      </a:dk2>
      <a:lt2>
        <a:srgbClr val="D4EDF9"/>
      </a:lt2>
      <a:accent1>
        <a:srgbClr val="42B0C7"/>
      </a:accent1>
      <a:accent2>
        <a:srgbClr val="E0770E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oegh LNG">
      <a:majorFont>
        <a:latin typeface="Degula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oegh LNG">
      <a:majorFont>
        <a:latin typeface="Degula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94fd135-bf69-4b65-826e-a0865fc685fb" xsi:nil="true"/>
    <lcf76f155ced4ddcb4097134ff3c332f xmlns="00dff021-8b73-44bc-afd2-7a01e306de3d">
      <Terms xmlns="http://schemas.microsoft.com/office/infopath/2007/PartnerControls"/>
    </lcf76f155ced4ddcb4097134ff3c332f>
    <SharedWithUsers xmlns="9b0b7d95-f3ed-4a58-a220-124523f0d255">
      <UserInfo>
        <DisplayName>Erik Nyheim</DisplayName>
        <AccountId>20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CC4B1D4810A844B6BDE0BE75C59F72" ma:contentTypeVersion="13" ma:contentTypeDescription="Create a new document." ma:contentTypeScope="" ma:versionID="dc646ad3d3ee24b68197ee194b48895b">
  <xsd:schema xmlns:xsd="http://www.w3.org/2001/XMLSchema" xmlns:xs="http://www.w3.org/2001/XMLSchema" xmlns:p="http://schemas.microsoft.com/office/2006/metadata/properties" xmlns:ns2="00dff021-8b73-44bc-afd2-7a01e306de3d" xmlns:ns3="9b0b7d95-f3ed-4a58-a220-124523f0d255" xmlns:ns4="794fd135-bf69-4b65-826e-a0865fc685fb" targetNamespace="http://schemas.microsoft.com/office/2006/metadata/properties" ma:root="true" ma:fieldsID="e6b29c0063de0864c1ab06aabc86c9ad" ns2:_="" ns3:_="" ns4:_="">
    <xsd:import namespace="00dff021-8b73-44bc-afd2-7a01e306de3d"/>
    <xsd:import namespace="9b0b7d95-f3ed-4a58-a220-124523f0d255"/>
    <xsd:import namespace="794fd135-bf69-4b65-826e-a0865fc685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dff021-8b73-44bc-afd2-7a01e306de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d9cf88b-eada-4784-9d76-028ea6eea3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b7d95-f3ed-4a58-a220-124523f0d25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4fd135-bf69-4b65-826e-a0865fc685fb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69bc5215-69e5-4f92-a107-e2b2c44d8207}" ma:internalName="TaxCatchAll" ma:showField="CatchAllData" ma:web="9b0b7d95-f3ed-4a58-a220-124523f0d25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D95D9D4-81D5-40A5-B8FD-FC7CED4B663C}">
  <ds:schemaRefs>
    <ds:schemaRef ds:uri="http://purl.org/dc/elements/1.1/"/>
    <ds:schemaRef ds:uri="http://www.w3.org/XML/1998/namespace"/>
    <ds:schemaRef ds:uri="http://schemas.openxmlformats.org/package/2006/metadata/core-properties"/>
    <ds:schemaRef ds:uri="http://purl.org/dc/terms/"/>
    <ds:schemaRef ds:uri="00dff021-8b73-44bc-afd2-7a01e306de3d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794fd135-bf69-4b65-826e-a0865fc685fb"/>
    <ds:schemaRef ds:uri="9b0b7d95-f3ed-4a58-a220-124523f0d255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E51A4BA-BA80-46E8-88E2-5556C4411FB0}">
  <ds:schemaRefs>
    <ds:schemaRef ds:uri="00dff021-8b73-44bc-afd2-7a01e306de3d"/>
    <ds:schemaRef ds:uri="794fd135-bf69-4b65-826e-a0865fc685fb"/>
    <ds:schemaRef ds:uri="9b0b7d95-f3ed-4a58-a220-124523f0d2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41A1F7A-C98C-4757-A0D1-769297AC486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</TotalTime>
  <Words>105</Words>
  <Application>Microsoft Office PowerPoint</Application>
  <PresentationFormat>Widescreen</PresentationFormat>
  <Paragraphs>22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Degular Semibold</vt:lpstr>
      <vt:lpstr>Wingdings</vt:lpstr>
      <vt:lpstr>Calibri</vt:lpstr>
      <vt:lpstr>Arial</vt:lpstr>
      <vt:lpstr>Inter</vt:lpstr>
      <vt:lpstr>Höegh LNG</vt:lpstr>
      <vt:lpstr>1_Höegh LNG</vt:lpstr>
      <vt:lpstr>think-cell Slide</vt:lpstr>
      <vt:lpstr>10th City of London Biennial Meeting  </vt:lpstr>
      <vt:lpstr>PowerPoint Presentation</vt:lpstr>
      <vt:lpstr>Since Russian pipeline supplies collapsed,  Europe depends on high send-out from its LNG import terminals</vt:lpstr>
      <vt:lpstr>PowerPoint Presentation</vt:lpstr>
      <vt:lpstr>Storage inventory at high levels following mild winter: 68.2% in Europe ex Ukraine, 74.4% in Germany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men Kjus</dc:creator>
  <cp:lastModifiedBy>Thomas Thorkildsen</cp:lastModifiedBy>
  <cp:revision>5</cp:revision>
  <cp:lastPrinted>2023-03-20T16:32:18Z</cp:lastPrinted>
  <dcterms:created xsi:type="dcterms:W3CDTF">2020-10-05T07:21:15Z</dcterms:created>
  <dcterms:modified xsi:type="dcterms:W3CDTF">2023-06-07T15:2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CC4B1D4810A844B6BDE0BE75C59F72</vt:lpwstr>
  </property>
  <property fmtid="{D5CDD505-2E9C-101B-9397-08002B2CF9AE}" pid="3" name="MediaServiceImageTags">
    <vt:lpwstr/>
  </property>
</Properties>
</file>